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76" r:id="rId4"/>
    <p:sldMasterId id="2147483905" r:id="rId5"/>
  </p:sldMasterIdLst>
  <p:notesMasterIdLst>
    <p:notesMasterId r:id="rId24"/>
  </p:notesMasterIdLst>
  <p:handoutMasterIdLst>
    <p:handoutMasterId r:id="rId25"/>
  </p:handoutMasterIdLst>
  <p:sldIdLst>
    <p:sldId id="321" r:id="rId6"/>
    <p:sldId id="297" r:id="rId7"/>
    <p:sldId id="309" r:id="rId8"/>
    <p:sldId id="322" r:id="rId9"/>
    <p:sldId id="323" r:id="rId10"/>
    <p:sldId id="324" r:id="rId11"/>
    <p:sldId id="325" r:id="rId12"/>
    <p:sldId id="326" r:id="rId13"/>
    <p:sldId id="327" r:id="rId14"/>
    <p:sldId id="328" r:id="rId15"/>
    <p:sldId id="329" r:id="rId16"/>
    <p:sldId id="330" r:id="rId17"/>
    <p:sldId id="331" r:id="rId18"/>
    <p:sldId id="333" r:id="rId19"/>
    <p:sldId id="336" r:id="rId20"/>
    <p:sldId id="337" r:id="rId21"/>
    <p:sldId id="338" r:id="rId22"/>
    <p:sldId id="339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GOT William" initials="RW" lastIdx="1" clrIdx="0">
    <p:extLst>
      <p:ext uri="{19B8F6BF-5375-455C-9EA6-DF929625EA0E}">
        <p15:presenceInfo xmlns:p15="http://schemas.microsoft.com/office/powerpoint/2012/main" userId="S::William.Ragot@oxinst.com::2bc68f12-88ab-4ce5-a64c-9a59895f2a3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FBFB"/>
    <a:srgbClr val="DCDCDC"/>
    <a:srgbClr val="000000"/>
    <a:srgbClr val="4C4C4C"/>
    <a:srgbClr val="EA7600"/>
    <a:srgbClr val="B5B9D3"/>
    <a:srgbClr val="CCCCCC"/>
    <a:srgbClr val="4D4D4D"/>
    <a:srgbClr val="383838"/>
    <a:srgbClr val="9332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F287A9C-68CA-4FF9-87E0-7B7FAABB46CD}" v="7" dt="2023-04-12T14:35:25.195"/>
  </p1510:revLst>
</p1510:revInfo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26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360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55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NGH Amandev" userId="2cc1d991-4541-4f8e-9458-79a0d00ba425" providerId="ADAL" clId="{DF287A9C-68CA-4FF9-87E0-7B7FAABB46CD}"/>
    <pc:docChg chg="undo custSel modSld">
      <pc:chgData name="SINGH Amandev" userId="2cc1d991-4541-4f8e-9458-79a0d00ba425" providerId="ADAL" clId="{DF287A9C-68CA-4FF9-87E0-7B7FAABB46CD}" dt="2023-04-12T14:35:25.195" v="16"/>
      <pc:docMkLst>
        <pc:docMk/>
      </pc:docMkLst>
      <pc:sldChg chg="modSp mod">
        <pc:chgData name="SINGH Amandev" userId="2cc1d991-4541-4f8e-9458-79a0d00ba425" providerId="ADAL" clId="{DF287A9C-68CA-4FF9-87E0-7B7FAABB46CD}" dt="2023-04-12T14:35:11.961" v="7" actId="1035"/>
        <pc:sldMkLst>
          <pc:docMk/>
          <pc:sldMk cId="1199908000" sldId="331"/>
        </pc:sldMkLst>
        <pc:spChg chg="mod">
          <ac:chgData name="SINGH Amandev" userId="2cc1d991-4541-4f8e-9458-79a0d00ba425" providerId="ADAL" clId="{DF287A9C-68CA-4FF9-87E0-7B7FAABB46CD}" dt="2023-04-12T14:35:11.961" v="7" actId="1035"/>
          <ac:spMkLst>
            <pc:docMk/>
            <pc:sldMk cId="1199908000" sldId="331"/>
            <ac:spMk id="3" creationId="{45129402-D085-CD72-48BE-04C2454EBE3F}"/>
          </ac:spMkLst>
        </pc:spChg>
      </pc:sldChg>
      <pc:sldChg chg="addSp delSp modSp mod">
        <pc:chgData name="SINGH Amandev" userId="2cc1d991-4541-4f8e-9458-79a0d00ba425" providerId="ADAL" clId="{DF287A9C-68CA-4FF9-87E0-7B7FAABB46CD}" dt="2023-04-12T14:35:15.700" v="9"/>
        <pc:sldMkLst>
          <pc:docMk/>
          <pc:sldMk cId="1658635457" sldId="336"/>
        </pc:sldMkLst>
        <pc:spChg chg="add mod">
          <ac:chgData name="SINGH Amandev" userId="2cc1d991-4541-4f8e-9458-79a0d00ba425" providerId="ADAL" clId="{DF287A9C-68CA-4FF9-87E0-7B7FAABB46CD}" dt="2023-04-12T14:35:03.181" v="5" actId="1035"/>
          <ac:spMkLst>
            <pc:docMk/>
            <pc:sldMk cId="1658635457" sldId="336"/>
            <ac:spMk id="2" creationId="{87D15270-E9CF-363B-5D45-005BF4CF6CDE}"/>
          </ac:spMkLst>
        </pc:spChg>
        <pc:spChg chg="add del mod">
          <ac:chgData name="SINGH Amandev" userId="2cc1d991-4541-4f8e-9458-79a0d00ba425" providerId="ADAL" clId="{DF287A9C-68CA-4FF9-87E0-7B7FAABB46CD}" dt="2023-04-12T14:35:15.700" v="9"/>
          <ac:spMkLst>
            <pc:docMk/>
            <pc:sldMk cId="1658635457" sldId="336"/>
            <ac:spMk id="3" creationId="{1C3A2E23-315C-93BA-475A-2888CBAD9C34}"/>
          </ac:spMkLst>
        </pc:spChg>
      </pc:sldChg>
      <pc:sldChg chg="addSp delSp modSp mod">
        <pc:chgData name="SINGH Amandev" userId="2cc1d991-4541-4f8e-9458-79a0d00ba425" providerId="ADAL" clId="{DF287A9C-68CA-4FF9-87E0-7B7FAABB46CD}" dt="2023-04-12T14:35:21.394" v="15"/>
        <pc:sldMkLst>
          <pc:docMk/>
          <pc:sldMk cId="1766033954" sldId="338"/>
        </pc:sldMkLst>
        <pc:spChg chg="add del mod">
          <ac:chgData name="SINGH Amandev" userId="2cc1d991-4541-4f8e-9458-79a0d00ba425" providerId="ADAL" clId="{DF287A9C-68CA-4FF9-87E0-7B7FAABB46CD}" dt="2023-04-12T14:35:20.156" v="14"/>
          <ac:spMkLst>
            <pc:docMk/>
            <pc:sldMk cId="1766033954" sldId="338"/>
            <ac:spMk id="6" creationId="{6AB6D59A-5FF8-111A-6BF7-A3AC6BBE7DEA}"/>
          </ac:spMkLst>
        </pc:spChg>
        <pc:spChg chg="add mod">
          <ac:chgData name="SINGH Amandev" userId="2cc1d991-4541-4f8e-9458-79a0d00ba425" providerId="ADAL" clId="{DF287A9C-68CA-4FF9-87E0-7B7FAABB46CD}" dt="2023-04-12T14:35:21.394" v="15"/>
          <ac:spMkLst>
            <pc:docMk/>
            <pc:sldMk cId="1766033954" sldId="338"/>
            <ac:spMk id="7" creationId="{856FDAD4-7952-E630-3E44-6597275966F0}"/>
          </ac:spMkLst>
        </pc:spChg>
      </pc:sldChg>
      <pc:sldChg chg="addSp modSp">
        <pc:chgData name="SINGH Amandev" userId="2cc1d991-4541-4f8e-9458-79a0d00ba425" providerId="ADAL" clId="{DF287A9C-68CA-4FF9-87E0-7B7FAABB46CD}" dt="2023-04-12T14:35:25.195" v="16"/>
        <pc:sldMkLst>
          <pc:docMk/>
          <pc:sldMk cId="752914148" sldId="339"/>
        </pc:sldMkLst>
        <pc:spChg chg="add mod">
          <ac:chgData name="SINGH Amandev" userId="2cc1d991-4541-4f8e-9458-79a0d00ba425" providerId="ADAL" clId="{DF287A9C-68CA-4FF9-87E0-7B7FAABB46CD}" dt="2023-04-12T14:35:25.195" v="16"/>
          <ac:spMkLst>
            <pc:docMk/>
            <pc:sldMk cId="752914148" sldId="339"/>
            <ac:spMk id="2" creationId="{36B8EDA9-2E62-3DA1-6CE8-79A22674BB24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C82B3F-F63C-4CCB-B921-B7A5FFF4298F}" type="doc">
      <dgm:prSet loTypeId="urn:microsoft.com/office/officeart/2011/layout/CircleProcess" loCatId="process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GB"/>
        </a:p>
      </dgm:t>
    </dgm:pt>
    <dgm:pt modelId="{E6771840-8478-4415-AB12-394DB963E1D9}">
      <dgm:prSet phldrT="[Text]" custT="1"/>
      <dgm:spPr/>
      <dgm:t>
        <a:bodyPr/>
        <a:lstStyle/>
        <a:p>
          <a:r>
            <a:rPr lang="en-GB" sz="2400" b="1" dirty="0">
              <a:latin typeface="Century Gothic" panose="020B0502020202020204" pitchFamily="34" charset="0"/>
              <a:cs typeface="Arial" panose="020B0604020202020204" pitchFamily="34" charset="0"/>
            </a:rPr>
            <a:t>1959</a:t>
          </a:r>
          <a:endParaRPr lang="en-GB" sz="2800" b="1" dirty="0">
            <a:latin typeface="Century Gothic" panose="020B0502020202020204" pitchFamily="34" charset="0"/>
            <a:cs typeface="Arial" panose="020B0604020202020204" pitchFamily="34" charset="0"/>
          </a:endParaRPr>
        </a:p>
      </dgm:t>
    </dgm:pt>
    <dgm:pt modelId="{E3AEDC7C-E97F-4B62-B311-19E3DD6CB0E6}" type="parTrans" cxnId="{AEAF0083-BD55-4503-8540-11B6A114D6CA}">
      <dgm:prSet/>
      <dgm:spPr/>
      <dgm:t>
        <a:bodyPr/>
        <a:lstStyle/>
        <a:p>
          <a:endParaRPr lang="en-GB"/>
        </a:p>
      </dgm:t>
    </dgm:pt>
    <dgm:pt modelId="{FA978045-2FEF-45AD-9B6D-2859DC38AFDB}" type="sibTrans" cxnId="{AEAF0083-BD55-4503-8540-11B6A114D6CA}">
      <dgm:prSet/>
      <dgm:spPr/>
      <dgm:t>
        <a:bodyPr/>
        <a:lstStyle/>
        <a:p>
          <a:endParaRPr lang="en-GB"/>
        </a:p>
      </dgm:t>
    </dgm:pt>
    <dgm:pt modelId="{01F5973C-6AC2-425A-A074-CFD1910830BE}">
      <dgm:prSet phldrT="[Text]" custT="1"/>
      <dgm:spPr/>
      <dgm:t>
        <a:bodyPr/>
        <a:lstStyle/>
        <a:p>
          <a:r>
            <a:rPr lang="en-GB" sz="2400" b="1" dirty="0">
              <a:latin typeface="Century Gothic" panose="020B0502020202020204" pitchFamily="34" charset="0"/>
              <a:cs typeface="Arial" panose="020B0604020202020204" pitchFamily="34" charset="0"/>
            </a:rPr>
            <a:t>1960s</a:t>
          </a:r>
        </a:p>
      </dgm:t>
    </dgm:pt>
    <dgm:pt modelId="{96892D1D-5B50-4675-AEEB-5C405A15527C}" type="parTrans" cxnId="{9C3E9DE0-9F2E-40FC-8401-71A51B454296}">
      <dgm:prSet/>
      <dgm:spPr/>
      <dgm:t>
        <a:bodyPr/>
        <a:lstStyle/>
        <a:p>
          <a:endParaRPr lang="en-GB"/>
        </a:p>
      </dgm:t>
    </dgm:pt>
    <dgm:pt modelId="{FCE6BE97-0ABB-43C7-89C3-BB3703541206}" type="sibTrans" cxnId="{9C3E9DE0-9F2E-40FC-8401-71A51B454296}">
      <dgm:prSet/>
      <dgm:spPr/>
      <dgm:t>
        <a:bodyPr/>
        <a:lstStyle/>
        <a:p>
          <a:endParaRPr lang="en-GB"/>
        </a:p>
      </dgm:t>
    </dgm:pt>
    <dgm:pt modelId="{019E6359-281E-40BD-B861-7F562DBD7607}">
      <dgm:prSet phldrT="[Text]" custT="1"/>
      <dgm:spPr/>
      <dgm:t>
        <a:bodyPr/>
        <a:lstStyle/>
        <a:p>
          <a:r>
            <a:rPr lang="en-GB" sz="2400" b="1" dirty="0">
              <a:latin typeface="Century Gothic" panose="020B0502020202020204" pitchFamily="34" charset="0"/>
              <a:cs typeface="Arial" panose="020B0604020202020204" pitchFamily="34" charset="0"/>
            </a:rPr>
            <a:t>2000s</a:t>
          </a:r>
          <a:endParaRPr lang="en-GB" sz="2700" b="1" dirty="0">
            <a:latin typeface="Century Gothic" panose="020B0502020202020204" pitchFamily="34" charset="0"/>
            <a:cs typeface="Arial" panose="020B0604020202020204" pitchFamily="34" charset="0"/>
          </a:endParaRPr>
        </a:p>
      </dgm:t>
    </dgm:pt>
    <dgm:pt modelId="{061EAA06-5C59-4CA1-A06E-3E16C58EEB67}" type="parTrans" cxnId="{0164C3DB-544E-4CB4-86FB-41F1EA939B03}">
      <dgm:prSet/>
      <dgm:spPr/>
      <dgm:t>
        <a:bodyPr/>
        <a:lstStyle/>
        <a:p>
          <a:endParaRPr lang="en-GB"/>
        </a:p>
      </dgm:t>
    </dgm:pt>
    <dgm:pt modelId="{9D41A422-58FE-451A-9B6A-A6484CDE9E48}" type="sibTrans" cxnId="{0164C3DB-544E-4CB4-86FB-41F1EA939B03}">
      <dgm:prSet/>
      <dgm:spPr/>
      <dgm:t>
        <a:bodyPr/>
        <a:lstStyle/>
        <a:p>
          <a:endParaRPr lang="en-GB"/>
        </a:p>
      </dgm:t>
    </dgm:pt>
    <dgm:pt modelId="{36921E84-3976-4477-8E59-3D3AE46EF127}">
      <dgm:prSet phldrT="[Text]" custT="1"/>
      <dgm:spPr/>
      <dgm:t>
        <a:bodyPr/>
        <a:lstStyle/>
        <a:p>
          <a:r>
            <a:rPr lang="en-GB" sz="2400" b="1" dirty="0">
              <a:latin typeface="Century Gothic" panose="020B0502020202020204" pitchFamily="34" charset="0"/>
              <a:cs typeface="Arial" panose="020B0604020202020204" pitchFamily="34" charset="0"/>
            </a:rPr>
            <a:t>1970s</a:t>
          </a:r>
        </a:p>
      </dgm:t>
    </dgm:pt>
    <dgm:pt modelId="{9A29FDDD-7E54-49B2-B637-F759240FBBC7}" type="parTrans" cxnId="{33A5C979-86FC-49CF-95EF-53E1A406BECE}">
      <dgm:prSet/>
      <dgm:spPr/>
      <dgm:t>
        <a:bodyPr/>
        <a:lstStyle/>
        <a:p>
          <a:endParaRPr lang="en-GB"/>
        </a:p>
      </dgm:t>
    </dgm:pt>
    <dgm:pt modelId="{8F45E826-262E-4510-B010-A52A044732B0}" type="sibTrans" cxnId="{33A5C979-86FC-49CF-95EF-53E1A406BECE}">
      <dgm:prSet/>
      <dgm:spPr/>
      <dgm:t>
        <a:bodyPr/>
        <a:lstStyle/>
        <a:p>
          <a:endParaRPr lang="en-GB"/>
        </a:p>
      </dgm:t>
    </dgm:pt>
    <dgm:pt modelId="{937E8994-1BB4-4827-9A10-B88844D81919}">
      <dgm:prSet phldrT="[Text]" custT="1"/>
      <dgm:spPr/>
      <dgm:t>
        <a:bodyPr/>
        <a:lstStyle/>
        <a:p>
          <a:r>
            <a:rPr lang="en-GB" sz="2400" b="1" dirty="0">
              <a:latin typeface="Century Gothic" panose="020B0502020202020204" pitchFamily="34" charset="0"/>
              <a:cs typeface="Arial" panose="020B0604020202020204" pitchFamily="34" charset="0"/>
            </a:rPr>
            <a:t>1980s</a:t>
          </a:r>
          <a:endParaRPr lang="en-GB" sz="2700" b="1" dirty="0">
            <a:latin typeface="Century Gothic" panose="020B0502020202020204" pitchFamily="34" charset="0"/>
            <a:cs typeface="Arial" panose="020B0604020202020204" pitchFamily="34" charset="0"/>
          </a:endParaRPr>
        </a:p>
      </dgm:t>
    </dgm:pt>
    <dgm:pt modelId="{B5797FF4-F9F4-4B25-A3C3-93D190256D34}" type="parTrans" cxnId="{B12E5AE2-43ED-49FF-9131-CA36E1D8F498}">
      <dgm:prSet/>
      <dgm:spPr/>
      <dgm:t>
        <a:bodyPr/>
        <a:lstStyle/>
        <a:p>
          <a:endParaRPr lang="en-GB"/>
        </a:p>
      </dgm:t>
    </dgm:pt>
    <dgm:pt modelId="{034FC673-D2FC-4248-8F5B-BACDA76C4445}" type="sibTrans" cxnId="{B12E5AE2-43ED-49FF-9131-CA36E1D8F498}">
      <dgm:prSet/>
      <dgm:spPr/>
      <dgm:t>
        <a:bodyPr/>
        <a:lstStyle/>
        <a:p>
          <a:endParaRPr lang="en-GB"/>
        </a:p>
      </dgm:t>
    </dgm:pt>
    <dgm:pt modelId="{D6936CC6-A753-4570-93F1-B78AE5823383}">
      <dgm:prSet phldrT="[Text]" custT="1"/>
      <dgm:spPr/>
      <dgm:t>
        <a:bodyPr/>
        <a:lstStyle/>
        <a:p>
          <a:r>
            <a:rPr lang="en-GB" sz="2400" b="1" dirty="0">
              <a:latin typeface="Century Gothic" panose="020B0502020202020204" pitchFamily="34" charset="0"/>
              <a:cs typeface="Arial" panose="020B0604020202020204" pitchFamily="34" charset="0"/>
            </a:rPr>
            <a:t>1990s</a:t>
          </a:r>
          <a:endParaRPr lang="en-GB" sz="2700" b="1" dirty="0">
            <a:latin typeface="Century Gothic" panose="020B0502020202020204" pitchFamily="34" charset="0"/>
            <a:cs typeface="Arial" panose="020B0604020202020204" pitchFamily="34" charset="0"/>
          </a:endParaRPr>
        </a:p>
      </dgm:t>
    </dgm:pt>
    <dgm:pt modelId="{5DCA9D5D-3F89-48A4-9B5C-007D6A6FC422}" type="parTrans" cxnId="{FD79A11A-ED13-4E9D-964F-09520DC41D5D}">
      <dgm:prSet/>
      <dgm:spPr/>
      <dgm:t>
        <a:bodyPr/>
        <a:lstStyle/>
        <a:p>
          <a:endParaRPr lang="en-GB"/>
        </a:p>
      </dgm:t>
    </dgm:pt>
    <dgm:pt modelId="{57CD717A-7D15-44E2-9E1A-3EED6D82B6E2}" type="sibTrans" cxnId="{FD79A11A-ED13-4E9D-964F-09520DC41D5D}">
      <dgm:prSet/>
      <dgm:spPr/>
      <dgm:t>
        <a:bodyPr/>
        <a:lstStyle/>
        <a:p>
          <a:endParaRPr lang="en-GB"/>
        </a:p>
      </dgm:t>
    </dgm:pt>
    <dgm:pt modelId="{34D4FEDE-133A-4768-97CE-312264EB8098}">
      <dgm:prSet phldrT="[Text]" custT="1"/>
      <dgm:spPr/>
      <dgm:t>
        <a:bodyPr/>
        <a:lstStyle/>
        <a:p>
          <a:r>
            <a:rPr lang="en-GB" sz="2400" b="1" dirty="0">
              <a:latin typeface="Century Gothic" panose="020B0502020202020204" pitchFamily="34" charset="0"/>
              <a:cs typeface="Arial" panose="020B0604020202020204" pitchFamily="34" charset="0"/>
            </a:rPr>
            <a:t>Now</a:t>
          </a:r>
          <a:endParaRPr lang="en-GB" sz="3300" b="1" dirty="0">
            <a:latin typeface="Century Gothic" panose="020B0502020202020204" pitchFamily="34" charset="0"/>
            <a:cs typeface="Arial" panose="020B0604020202020204" pitchFamily="34" charset="0"/>
          </a:endParaRPr>
        </a:p>
      </dgm:t>
    </dgm:pt>
    <dgm:pt modelId="{252A2EE2-5BAA-4886-BBFE-BD422FE0E60C}" type="parTrans" cxnId="{BFE3A821-50EA-4D6A-B2CF-3444601A322E}">
      <dgm:prSet/>
      <dgm:spPr/>
      <dgm:t>
        <a:bodyPr/>
        <a:lstStyle/>
        <a:p>
          <a:endParaRPr lang="en-GB"/>
        </a:p>
      </dgm:t>
    </dgm:pt>
    <dgm:pt modelId="{346DDC8C-4945-4CDD-BA5C-73620316F911}" type="sibTrans" cxnId="{BFE3A821-50EA-4D6A-B2CF-3444601A322E}">
      <dgm:prSet/>
      <dgm:spPr/>
      <dgm:t>
        <a:bodyPr/>
        <a:lstStyle/>
        <a:p>
          <a:endParaRPr lang="en-GB"/>
        </a:p>
      </dgm:t>
    </dgm:pt>
    <dgm:pt modelId="{E7100E46-6218-4912-B915-80D58AE6B2D2}" type="pres">
      <dgm:prSet presAssocID="{F2C82B3F-F63C-4CCB-B921-B7A5FFF4298F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81DAA072-4B97-4B50-93CF-C7FC0D9D05E0}" type="pres">
      <dgm:prSet presAssocID="{34D4FEDE-133A-4768-97CE-312264EB8098}" presName="Accent7" presStyleCnt="0"/>
      <dgm:spPr/>
    </dgm:pt>
    <dgm:pt modelId="{1FC40DD5-48E9-4921-8084-0B93E281A25A}" type="pres">
      <dgm:prSet presAssocID="{34D4FEDE-133A-4768-97CE-312264EB8098}" presName="Accent" presStyleLbl="node1" presStyleIdx="0" presStyleCnt="7"/>
      <dgm:spPr/>
    </dgm:pt>
    <dgm:pt modelId="{B850BAFC-9527-4C6C-A73F-D1F3945FD6DA}" type="pres">
      <dgm:prSet presAssocID="{34D4FEDE-133A-4768-97CE-312264EB8098}" presName="ParentBackground7" presStyleCnt="0"/>
      <dgm:spPr/>
    </dgm:pt>
    <dgm:pt modelId="{DBEC3A42-0AA1-4B62-B623-8D8FC883EE2D}" type="pres">
      <dgm:prSet presAssocID="{34D4FEDE-133A-4768-97CE-312264EB8098}" presName="ParentBackground" presStyleLbl="fgAcc1" presStyleIdx="0" presStyleCnt="7"/>
      <dgm:spPr/>
    </dgm:pt>
    <dgm:pt modelId="{DDA48EEA-20E4-48F2-AA27-BF48F3BDBFED}" type="pres">
      <dgm:prSet presAssocID="{34D4FEDE-133A-4768-97CE-312264EB8098}" presName="Parent7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3D331ADE-DE3B-4A41-A8BC-02D24590C28D}" type="pres">
      <dgm:prSet presAssocID="{019E6359-281E-40BD-B861-7F562DBD7607}" presName="Accent6" presStyleCnt="0"/>
      <dgm:spPr/>
    </dgm:pt>
    <dgm:pt modelId="{40F33CC6-F9EE-40B2-A66C-D3CB1F908B60}" type="pres">
      <dgm:prSet presAssocID="{019E6359-281E-40BD-B861-7F562DBD7607}" presName="Accent" presStyleLbl="node1" presStyleIdx="1" presStyleCnt="7"/>
      <dgm:spPr/>
    </dgm:pt>
    <dgm:pt modelId="{4F6BEBB9-D235-41D7-86F4-74103878C154}" type="pres">
      <dgm:prSet presAssocID="{019E6359-281E-40BD-B861-7F562DBD7607}" presName="ParentBackground6" presStyleCnt="0"/>
      <dgm:spPr/>
    </dgm:pt>
    <dgm:pt modelId="{ED0DAE8D-3EE4-43D0-957A-121C36A7CA60}" type="pres">
      <dgm:prSet presAssocID="{019E6359-281E-40BD-B861-7F562DBD7607}" presName="ParentBackground" presStyleLbl="fgAcc1" presStyleIdx="1" presStyleCnt="7"/>
      <dgm:spPr/>
    </dgm:pt>
    <dgm:pt modelId="{3C793F36-0C94-4927-81EC-8546AAE8C88C}" type="pres">
      <dgm:prSet presAssocID="{019E6359-281E-40BD-B861-7F562DBD7607}" presName="Parent6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0291245C-9BE7-4D4B-B884-E1D3D3540FC7}" type="pres">
      <dgm:prSet presAssocID="{D6936CC6-A753-4570-93F1-B78AE5823383}" presName="Accent5" presStyleCnt="0"/>
      <dgm:spPr/>
    </dgm:pt>
    <dgm:pt modelId="{50EA81F9-E6DC-4F0A-A475-88AE649B9B3F}" type="pres">
      <dgm:prSet presAssocID="{D6936CC6-A753-4570-93F1-B78AE5823383}" presName="Accent" presStyleLbl="node1" presStyleIdx="2" presStyleCnt="7"/>
      <dgm:spPr/>
    </dgm:pt>
    <dgm:pt modelId="{E1D26329-E90E-4FFA-95EE-231C1B5416C9}" type="pres">
      <dgm:prSet presAssocID="{D6936CC6-A753-4570-93F1-B78AE5823383}" presName="ParentBackground5" presStyleCnt="0"/>
      <dgm:spPr/>
    </dgm:pt>
    <dgm:pt modelId="{9AB170E2-9C5D-47FF-BE4F-04605729B948}" type="pres">
      <dgm:prSet presAssocID="{D6936CC6-A753-4570-93F1-B78AE5823383}" presName="ParentBackground" presStyleLbl="fgAcc1" presStyleIdx="2" presStyleCnt="7"/>
      <dgm:spPr/>
    </dgm:pt>
    <dgm:pt modelId="{D6F86E16-3910-4483-9FEF-1C4D865054C4}" type="pres">
      <dgm:prSet presAssocID="{D6936CC6-A753-4570-93F1-B78AE5823383}" presName="Parent5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CE61F985-B039-49A4-B09C-4C4CE1209B2A}" type="pres">
      <dgm:prSet presAssocID="{937E8994-1BB4-4827-9A10-B88844D81919}" presName="Accent4" presStyleCnt="0"/>
      <dgm:spPr/>
    </dgm:pt>
    <dgm:pt modelId="{52DC20BF-F4CE-4387-80A1-BF5DDB6B75A8}" type="pres">
      <dgm:prSet presAssocID="{937E8994-1BB4-4827-9A10-B88844D81919}" presName="Accent" presStyleLbl="node1" presStyleIdx="3" presStyleCnt="7"/>
      <dgm:spPr/>
    </dgm:pt>
    <dgm:pt modelId="{85FB6B08-084B-43C8-A928-75777624860A}" type="pres">
      <dgm:prSet presAssocID="{937E8994-1BB4-4827-9A10-B88844D81919}" presName="ParentBackground4" presStyleCnt="0"/>
      <dgm:spPr/>
    </dgm:pt>
    <dgm:pt modelId="{25F7562C-3111-4AAF-9758-E9C802BB332F}" type="pres">
      <dgm:prSet presAssocID="{937E8994-1BB4-4827-9A10-B88844D81919}" presName="ParentBackground" presStyleLbl="fgAcc1" presStyleIdx="3" presStyleCnt="7"/>
      <dgm:spPr/>
    </dgm:pt>
    <dgm:pt modelId="{48BE3DEF-2C8B-4C8F-ADCB-1B4099710DD7}" type="pres">
      <dgm:prSet presAssocID="{937E8994-1BB4-4827-9A10-B88844D81919}" presName="Parent4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717F379D-3661-4412-AD54-12C97654D091}" type="pres">
      <dgm:prSet presAssocID="{36921E84-3976-4477-8E59-3D3AE46EF127}" presName="Accent3" presStyleCnt="0"/>
      <dgm:spPr/>
    </dgm:pt>
    <dgm:pt modelId="{80546787-D649-4196-B58C-1F867D304CBE}" type="pres">
      <dgm:prSet presAssocID="{36921E84-3976-4477-8E59-3D3AE46EF127}" presName="Accent" presStyleLbl="node1" presStyleIdx="4" presStyleCnt="7"/>
      <dgm:spPr/>
    </dgm:pt>
    <dgm:pt modelId="{FADDB6C5-492A-4EE8-8AF7-38818DF156E5}" type="pres">
      <dgm:prSet presAssocID="{36921E84-3976-4477-8E59-3D3AE46EF127}" presName="ParentBackground3" presStyleCnt="0"/>
      <dgm:spPr/>
    </dgm:pt>
    <dgm:pt modelId="{E3A98126-BC45-44A5-805B-8D0BFC6FBC89}" type="pres">
      <dgm:prSet presAssocID="{36921E84-3976-4477-8E59-3D3AE46EF127}" presName="ParentBackground" presStyleLbl="fgAcc1" presStyleIdx="4" presStyleCnt="7"/>
      <dgm:spPr/>
    </dgm:pt>
    <dgm:pt modelId="{A01C468A-CBC1-4E65-ACF3-08D2FCFFB147}" type="pres">
      <dgm:prSet presAssocID="{36921E84-3976-4477-8E59-3D3AE46EF127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E1503281-F07C-4A0A-9B0C-090A33572AAE}" type="pres">
      <dgm:prSet presAssocID="{01F5973C-6AC2-425A-A074-CFD1910830BE}" presName="Accent2" presStyleCnt="0"/>
      <dgm:spPr/>
    </dgm:pt>
    <dgm:pt modelId="{57E0D054-28CE-4026-A0E5-9944F76517BD}" type="pres">
      <dgm:prSet presAssocID="{01F5973C-6AC2-425A-A074-CFD1910830BE}" presName="Accent" presStyleLbl="node1" presStyleIdx="5" presStyleCnt="7"/>
      <dgm:spPr/>
    </dgm:pt>
    <dgm:pt modelId="{EEC48FC6-276E-4867-901C-C605A6BB942B}" type="pres">
      <dgm:prSet presAssocID="{01F5973C-6AC2-425A-A074-CFD1910830BE}" presName="ParentBackground2" presStyleCnt="0"/>
      <dgm:spPr/>
    </dgm:pt>
    <dgm:pt modelId="{BFAF17AD-2C01-483D-B9CF-66C4072E06F2}" type="pres">
      <dgm:prSet presAssocID="{01F5973C-6AC2-425A-A074-CFD1910830BE}" presName="ParentBackground" presStyleLbl="fgAcc1" presStyleIdx="5" presStyleCnt="7"/>
      <dgm:spPr/>
    </dgm:pt>
    <dgm:pt modelId="{FC07E5A6-022D-44DF-95D7-843ADA9A5699}" type="pres">
      <dgm:prSet presAssocID="{01F5973C-6AC2-425A-A074-CFD1910830BE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C51BB627-3487-4D11-B768-5C003FDFE806}" type="pres">
      <dgm:prSet presAssocID="{E6771840-8478-4415-AB12-394DB963E1D9}" presName="Accent1" presStyleCnt="0"/>
      <dgm:spPr/>
    </dgm:pt>
    <dgm:pt modelId="{0EA4057F-7A33-4D24-A546-200F25AFF980}" type="pres">
      <dgm:prSet presAssocID="{E6771840-8478-4415-AB12-394DB963E1D9}" presName="Accent" presStyleLbl="node1" presStyleIdx="6" presStyleCnt="7"/>
      <dgm:spPr/>
    </dgm:pt>
    <dgm:pt modelId="{22F6A84B-FE20-4BAE-A87B-51F36DF4219E}" type="pres">
      <dgm:prSet presAssocID="{E6771840-8478-4415-AB12-394DB963E1D9}" presName="ParentBackground1" presStyleCnt="0"/>
      <dgm:spPr/>
    </dgm:pt>
    <dgm:pt modelId="{BDFA736E-A008-411B-936C-7DA3FF8E614A}" type="pres">
      <dgm:prSet presAssocID="{E6771840-8478-4415-AB12-394DB963E1D9}" presName="ParentBackground" presStyleLbl="fgAcc1" presStyleIdx="6" presStyleCnt="7"/>
      <dgm:spPr/>
    </dgm:pt>
    <dgm:pt modelId="{86D96B63-1A72-481B-A849-9FAEC806B111}" type="pres">
      <dgm:prSet presAssocID="{E6771840-8478-4415-AB12-394DB963E1D9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FD79A11A-ED13-4E9D-964F-09520DC41D5D}" srcId="{F2C82B3F-F63C-4CCB-B921-B7A5FFF4298F}" destId="{D6936CC6-A753-4570-93F1-B78AE5823383}" srcOrd="4" destOrd="0" parTransId="{5DCA9D5D-3F89-48A4-9B5C-007D6A6FC422}" sibTransId="{57CD717A-7D15-44E2-9E1A-3EED6D82B6E2}"/>
    <dgm:cxn modelId="{207B4E1E-5F24-488E-BD16-EA4CAB61106E}" type="presOf" srcId="{E6771840-8478-4415-AB12-394DB963E1D9}" destId="{86D96B63-1A72-481B-A849-9FAEC806B111}" srcOrd="1" destOrd="0" presId="urn:microsoft.com/office/officeart/2011/layout/CircleProcess"/>
    <dgm:cxn modelId="{F8E5C01F-75AB-4604-80BD-288D2A6299BD}" type="presOf" srcId="{34D4FEDE-133A-4768-97CE-312264EB8098}" destId="{DBEC3A42-0AA1-4B62-B623-8D8FC883EE2D}" srcOrd="0" destOrd="0" presId="urn:microsoft.com/office/officeart/2011/layout/CircleProcess"/>
    <dgm:cxn modelId="{BFE3A821-50EA-4D6A-B2CF-3444601A322E}" srcId="{F2C82B3F-F63C-4CCB-B921-B7A5FFF4298F}" destId="{34D4FEDE-133A-4768-97CE-312264EB8098}" srcOrd="6" destOrd="0" parTransId="{252A2EE2-5BAA-4886-BBFE-BD422FE0E60C}" sibTransId="{346DDC8C-4945-4CDD-BA5C-73620316F911}"/>
    <dgm:cxn modelId="{32B67C2B-1A16-4D49-8D7E-CE4CDA50937A}" type="presOf" srcId="{019E6359-281E-40BD-B861-7F562DBD7607}" destId="{ED0DAE8D-3EE4-43D0-957A-121C36A7CA60}" srcOrd="0" destOrd="0" presId="urn:microsoft.com/office/officeart/2011/layout/CircleProcess"/>
    <dgm:cxn modelId="{B9C3EE2D-944C-4D04-8785-E3E100FC17FB}" type="presOf" srcId="{937E8994-1BB4-4827-9A10-B88844D81919}" destId="{48BE3DEF-2C8B-4C8F-ADCB-1B4099710DD7}" srcOrd="1" destOrd="0" presId="urn:microsoft.com/office/officeart/2011/layout/CircleProcess"/>
    <dgm:cxn modelId="{531EC82F-D33B-419A-9320-4AD1C4606069}" type="presOf" srcId="{34D4FEDE-133A-4768-97CE-312264EB8098}" destId="{DDA48EEA-20E4-48F2-AA27-BF48F3BDBFED}" srcOrd="1" destOrd="0" presId="urn:microsoft.com/office/officeart/2011/layout/CircleProcess"/>
    <dgm:cxn modelId="{97E2F83B-0086-4334-8603-935F82B5B53E}" type="presOf" srcId="{D6936CC6-A753-4570-93F1-B78AE5823383}" destId="{D6F86E16-3910-4483-9FEF-1C4D865054C4}" srcOrd="1" destOrd="0" presId="urn:microsoft.com/office/officeart/2011/layout/CircleProcess"/>
    <dgm:cxn modelId="{3632136C-C452-4824-8734-8658E8548E78}" type="presOf" srcId="{E6771840-8478-4415-AB12-394DB963E1D9}" destId="{BDFA736E-A008-411B-936C-7DA3FF8E614A}" srcOrd="0" destOrd="0" presId="urn:microsoft.com/office/officeart/2011/layout/CircleProcess"/>
    <dgm:cxn modelId="{6BBA0773-7385-46D9-A3EC-2E25F236C19E}" type="presOf" srcId="{D6936CC6-A753-4570-93F1-B78AE5823383}" destId="{9AB170E2-9C5D-47FF-BE4F-04605729B948}" srcOrd="0" destOrd="0" presId="urn:microsoft.com/office/officeart/2011/layout/CircleProcess"/>
    <dgm:cxn modelId="{33A5C979-86FC-49CF-95EF-53E1A406BECE}" srcId="{F2C82B3F-F63C-4CCB-B921-B7A5FFF4298F}" destId="{36921E84-3976-4477-8E59-3D3AE46EF127}" srcOrd="2" destOrd="0" parTransId="{9A29FDDD-7E54-49B2-B637-F759240FBBC7}" sibTransId="{8F45E826-262E-4510-B010-A52A044732B0}"/>
    <dgm:cxn modelId="{AEAF0083-BD55-4503-8540-11B6A114D6CA}" srcId="{F2C82B3F-F63C-4CCB-B921-B7A5FFF4298F}" destId="{E6771840-8478-4415-AB12-394DB963E1D9}" srcOrd="0" destOrd="0" parTransId="{E3AEDC7C-E97F-4B62-B311-19E3DD6CB0E6}" sibTransId="{FA978045-2FEF-45AD-9B6D-2859DC38AFDB}"/>
    <dgm:cxn modelId="{6B6E4CA1-3B4D-4B82-9210-B5F60AC18A46}" type="presOf" srcId="{36921E84-3976-4477-8E59-3D3AE46EF127}" destId="{A01C468A-CBC1-4E65-ACF3-08D2FCFFB147}" srcOrd="1" destOrd="0" presId="urn:microsoft.com/office/officeart/2011/layout/CircleProcess"/>
    <dgm:cxn modelId="{C17399A2-E7BC-4F89-B564-D1ECB6B42C7D}" type="presOf" srcId="{01F5973C-6AC2-425A-A074-CFD1910830BE}" destId="{BFAF17AD-2C01-483D-B9CF-66C4072E06F2}" srcOrd="0" destOrd="0" presId="urn:microsoft.com/office/officeart/2011/layout/CircleProcess"/>
    <dgm:cxn modelId="{FB2FE3B8-F829-4D25-A8FF-E3A5095C3058}" type="presOf" srcId="{01F5973C-6AC2-425A-A074-CFD1910830BE}" destId="{FC07E5A6-022D-44DF-95D7-843ADA9A5699}" srcOrd="1" destOrd="0" presId="urn:microsoft.com/office/officeart/2011/layout/CircleProcess"/>
    <dgm:cxn modelId="{A8DA30C3-6B67-4E12-9F75-C2D57EAFC77B}" type="presOf" srcId="{F2C82B3F-F63C-4CCB-B921-B7A5FFF4298F}" destId="{E7100E46-6218-4912-B915-80D58AE6B2D2}" srcOrd="0" destOrd="0" presId="urn:microsoft.com/office/officeart/2011/layout/CircleProcess"/>
    <dgm:cxn modelId="{01439AD6-E6B7-48F4-AD84-D5DAE08204F6}" type="presOf" srcId="{937E8994-1BB4-4827-9A10-B88844D81919}" destId="{25F7562C-3111-4AAF-9758-E9C802BB332F}" srcOrd="0" destOrd="0" presId="urn:microsoft.com/office/officeart/2011/layout/CircleProcess"/>
    <dgm:cxn modelId="{0164C3DB-544E-4CB4-86FB-41F1EA939B03}" srcId="{F2C82B3F-F63C-4CCB-B921-B7A5FFF4298F}" destId="{019E6359-281E-40BD-B861-7F562DBD7607}" srcOrd="5" destOrd="0" parTransId="{061EAA06-5C59-4CA1-A06E-3E16C58EEB67}" sibTransId="{9D41A422-58FE-451A-9B6A-A6484CDE9E48}"/>
    <dgm:cxn modelId="{CE0BBDDF-2FF5-47F2-9CF0-ABAD6F12ACFB}" type="presOf" srcId="{36921E84-3976-4477-8E59-3D3AE46EF127}" destId="{E3A98126-BC45-44A5-805B-8D0BFC6FBC89}" srcOrd="0" destOrd="0" presId="urn:microsoft.com/office/officeart/2011/layout/CircleProcess"/>
    <dgm:cxn modelId="{9C3E9DE0-9F2E-40FC-8401-71A51B454296}" srcId="{F2C82B3F-F63C-4CCB-B921-B7A5FFF4298F}" destId="{01F5973C-6AC2-425A-A074-CFD1910830BE}" srcOrd="1" destOrd="0" parTransId="{96892D1D-5B50-4675-AEEB-5C405A15527C}" sibTransId="{FCE6BE97-0ABB-43C7-89C3-BB3703541206}"/>
    <dgm:cxn modelId="{B12E5AE2-43ED-49FF-9131-CA36E1D8F498}" srcId="{F2C82B3F-F63C-4CCB-B921-B7A5FFF4298F}" destId="{937E8994-1BB4-4827-9A10-B88844D81919}" srcOrd="3" destOrd="0" parTransId="{B5797FF4-F9F4-4B25-A3C3-93D190256D34}" sibTransId="{034FC673-D2FC-4248-8F5B-BACDA76C4445}"/>
    <dgm:cxn modelId="{DF2358E4-FA17-48D8-98FE-FBA6BC5D9693}" type="presOf" srcId="{019E6359-281E-40BD-B861-7F562DBD7607}" destId="{3C793F36-0C94-4927-81EC-8546AAE8C88C}" srcOrd="1" destOrd="0" presId="urn:microsoft.com/office/officeart/2011/layout/CircleProcess"/>
    <dgm:cxn modelId="{ADC860DA-E7BA-475B-BD8E-E185A03EF10F}" type="presParOf" srcId="{E7100E46-6218-4912-B915-80D58AE6B2D2}" destId="{81DAA072-4B97-4B50-93CF-C7FC0D9D05E0}" srcOrd="0" destOrd="0" presId="urn:microsoft.com/office/officeart/2011/layout/CircleProcess"/>
    <dgm:cxn modelId="{205145E3-6155-4566-9E84-06A25362E47A}" type="presParOf" srcId="{81DAA072-4B97-4B50-93CF-C7FC0D9D05E0}" destId="{1FC40DD5-48E9-4921-8084-0B93E281A25A}" srcOrd="0" destOrd="0" presId="urn:microsoft.com/office/officeart/2011/layout/CircleProcess"/>
    <dgm:cxn modelId="{28453A74-456E-4F2D-986B-19879D2BA6C4}" type="presParOf" srcId="{E7100E46-6218-4912-B915-80D58AE6B2D2}" destId="{B850BAFC-9527-4C6C-A73F-D1F3945FD6DA}" srcOrd="1" destOrd="0" presId="urn:microsoft.com/office/officeart/2011/layout/CircleProcess"/>
    <dgm:cxn modelId="{150B106B-5792-4044-9C23-773A79A1C61F}" type="presParOf" srcId="{B850BAFC-9527-4C6C-A73F-D1F3945FD6DA}" destId="{DBEC3A42-0AA1-4B62-B623-8D8FC883EE2D}" srcOrd="0" destOrd="0" presId="urn:microsoft.com/office/officeart/2011/layout/CircleProcess"/>
    <dgm:cxn modelId="{0BCCC6A6-03FA-42E1-91E0-64C4695465B2}" type="presParOf" srcId="{E7100E46-6218-4912-B915-80D58AE6B2D2}" destId="{DDA48EEA-20E4-48F2-AA27-BF48F3BDBFED}" srcOrd="2" destOrd="0" presId="urn:microsoft.com/office/officeart/2011/layout/CircleProcess"/>
    <dgm:cxn modelId="{A5F1FC61-D24A-4C4B-B683-B064F46C988D}" type="presParOf" srcId="{E7100E46-6218-4912-B915-80D58AE6B2D2}" destId="{3D331ADE-DE3B-4A41-A8BC-02D24590C28D}" srcOrd="3" destOrd="0" presId="urn:microsoft.com/office/officeart/2011/layout/CircleProcess"/>
    <dgm:cxn modelId="{007C24A5-D2B3-4F3B-8269-8EEC49409856}" type="presParOf" srcId="{3D331ADE-DE3B-4A41-A8BC-02D24590C28D}" destId="{40F33CC6-F9EE-40B2-A66C-D3CB1F908B60}" srcOrd="0" destOrd="0" presId="urn:microsoft.com/office/officeart/2011/layout/CircleProcess"/>
    <dgm:cxn modelId="{DC4E8919-32B5-4DFC-8432-870BB276AEF5}" type="presParOf" srcId="{E7100E46-6218-4912-B915-80D58AE6B2D2}" destId="{4F6BEBB9-D235-41D7-86F4-74103878C154}" srcOrd="4" destOrd="0" presId="urn:microsoft.com/office/officeart/2011/layout/CircleProcess"/>
    <dgm:cxn modelId="{1BC94E05-C64B-45AB-98A7-E73568754723}" type="presParOf" srcId="{4F6BEBB9-D235-41D7-86F4-74103878C154}" destId="{ED0DAE8D-3EE4-43D0-957A-121C36A7CA60}" srcOrd="0" destOrd="0" presId="urn:microsoft.com/office/officeart/2011/layout/CircleProcess"/>
    <dgm:cxn modelId="{6DBA0AC7-75AF-4347-8C50-52AAAFCC4A49}" type="presParOf" srcId="{E7100E46-6218-4912-B915-80D58AE6B2D2}" destId="{3C793F36-0C94-4927-81EC-8546AAE8C88C}" srcOrd="5" destOrd="0" presId="urn:microsoft.com/office/officeart/2011/layout/CircleProcess"/>
    <dgm:cxn modelId="{BD2D06AF-9B65-4ABE-8028-85C7AEC9E4FB}" type="presParOf" srcId="{E7100E46-6218-4912-B915-80D58AE6B2D2}" destId="{0291245C-9BE7-4D4B-B884-E1D3D3540FC7}" srcOrd="6" destOrd="0" presId="urn:microsoft.com/office/officeart/2011/layout/CircleProcess"/>
    <dgm:cxn modelId="{360CFB6A-60A9-4C12-89F0-03FD1C8BF3F7}" type="presParOf" srcId="{0291245C-9BE7-4D4B-B884-E1D3D3540FC7}" destId="{50EA81F9-E6DC-4F0A-A475-88AE649B9B3F}" srcOrd="0" destOrd="0" presId="urn:microsoft.com/office/officeart/2011/layout/CircleProcess"/>
    <dgm:cxn modelId="{173A54C4-326A-47D0-9DDF-C9D6ABC18D6D}" type="presParOf" srcId="{E7100E46-6218-4912-B915-80D58AE6B2D2}" destId="{E1D26329-E90E-4FFA-95EE-231C1B5416C9}" srcOrd="7" destOrd="0" presId="urn:microsoft.com/office/officeart/2011/layout/CircleProcess"/>
    <dgm:cxn modelId="{02225B52-DF00-455A-ACB6-927762812D9C}" type="presParOf" srcId="{E1D26329-E90E-4FFA-95EE-231C1B5416C9}" destId="{9AB170E2-9C5D-47FF-BE4F-04605729B948}" srcOrd="0" destOrd="0" presId="urn:microsoft.com/office/officeart/2011/layout/CircleProcess"/>
    <dgm:cxn modelId="{957559F8-FD0A-43A1-82FD-A4A4D6C3301F}" type="presParOf" srcId="{E7100E46-6218-4912-B915-80D58AE6B2D2}" destId="{D6F86E16-3910-4483-9FEF-1C4D865054C4}" srcOrd="8" destOrd="0" presId="urn:microsoft.com/office/officeart/2011/layout/CircleProcess"/>
    <dgm:cxn modelId="{C574A34A-C88D-4459-987F-40B1A2F85B08}" type="presParOf" srcId="{E7100E46-6218-4912-B915-80D58AE6B2D2}" destId="{CE61F985-B039-49A4-B09C-4C4CE1209B2A}" srcOrd="9" destOrd="0" presId="urn:microsoft.com/office/officeart/2011/layout/CircleProcess"/>
    <dgm:cxn modelId="{BC145403-72E9-416B-806D-F4C781FB1726}" type="presParOf" srcId="{CE61F985-B039-49A4-B09C-4C4CE1209B2A}" destId="{52DC20BF-F4CE-4387-80A1-BF5DDB6B75A8}" srcOrd="0" destOrd="0" presId="urn:microsoft.com/office/officeart/2011/layout/CircleProcess"/>
    <dgm:cxn modelId="{494E44CF-6B66-47E5-878B-4D8C53257331}" type="presParOf" srcId="{E7100E46-6218-4912-B915-80D58AE6B2D2}" destId="{85FB6B08-084B-43C8-A928-75777624860A}" srcOrd="10" destOrd="0" presId="urn:microsoft.com/office/officeart/2011/layout/CircleProcess"/>
    <dgm:cxn modelId="{CAC506FF-0606-4C0F-A511-B4AC0B433D66}" type="presParOf" srcId="{85FB6B08-084B-43C8-A928-75777624860A}" destId="{25F7562C-3111-4AAF-9758-E9C802BB332F}" srcOrd="0" destOrd="0" presId="urn:microsoft.com/office/officeart/2011/layout/CircleProcess"/>
    <dgm:cxn modelId="{37F30E37-C831-4BEA-BF60-E86753D1D52B}" type="presParOf" srcId="{E7100E46-6218-4912-B915-80D58AE6B2D2}" destId="{48BE3DEF-2C8B-4C8F-ADCB-1B4099710DD7}" srcOrd="11" destOrd="0" presId="urn:microsoft.com/office/officeart/2011/layout/CircleProcess"/>
    <dgm:cxn modelId="{528260BC-5C2B-4BFE-91CC-F968CAF03D03}" type="presParOf" srcId="{E7100E46-6218-4912-B915-80D58AE6B2D2}" destId="{717F379D-3661-4412-AD54-12C97654D091}" srcOrd="12" destOrd="0" presId="urn:microsoft.com/office/officeart/2011/layout/CircleProcess"/>
    <dgm:cxn modelId="{420DDDF3-184A-456C-8295-31257079AB46}" type="presParOf" srcId="{717F379D-3661-4412-AD54-12C97654D091}" destId="{80546787-D649-4196-B58C-1F867D304CBE}" srcOrd="0" destOrd="0" presId="urn:microsoft.com/office/officeart/2011/layout/CircleProcess"/>
    <dgm:cxn modelId="{7324ED7A-9CA4-4CF5-A0C2-68A6A1C7310D}" type="presParOf" srcId="{E7100E46-6218-4912-B915-80D58AE6B2D2}" destId="{FADDB6C5-492A-4EE8-8AF7-38818DF156E5}" srcOrd="13" destOrd="0" presId="urn:microsoft.com/office/officeart/2011/layout/CircleProcess"/>
    <dgm:cxn modelId="{391FA36F-2BA0-46CB-A973-7D132671F042}" type="presParOf" srcId="{FADDB6C5-492A-4EE8-8AF7-38818DF156E5}" destId="{E3A98126-BC45-44A5-805B-8D0BFC6FBC89}" srcOrd="0" destOrd="0" presId="urn:microsoft.com/office/officeart/2011/layout/CircleProcess"/>
    <dgm:cxn modelId="{64BAAC26-F196-4931-898E-640517CE6293}" type="presParOf" srcId="{E7100E46-6218-4912-B915-80D58AE6B2D2}" destId="{A01C468A-CBC1-4E65-ACF3-08D2FCFFB147}" srcOrd="14" destOrd="0" presId="urn:microsoft.com/office/officeart/2011/layout/CircleProcess"/>
    <dgm:cxn modelId="{C88FD997-FAB3-418E-9A74-623AF26E3481}" type="presParOf" srcId="{E7100E46-6218-4912-B915-80D58AE6B2D2}" destId="{E1503281-F07C-4A0A-9B0C-090A33572AAE}" srcOrd="15" destOrd="0" presId="urn:microsoft.com/office/officeart/2011/layout/CircleProcess"/>
    <dgm:cxn modelId="{8060465D-0733-402C-BC61-82BBFDFB3D42}" type="presParOf" srcId="{E1503281-F07C-4A0A-9B0C-090A33572AAE}" destId="{57E0D054-28CE-4026-A0E5-9944F76517BD}" srcOrd="0" destOrd="0" presId="urn:microsoft.com/office/officeart/2011/layout/CircleProcess"/>
    <dgm:cxn modelId="{7C7C6846-229A-4702-865A-12B8434875D5}" type="presParOf" srcId="{E7100E46-6218-4912-B915-80D58AE6B2D2}" destId="{EEC48FC6-276E-4867-901C-C605A6BB942B}" srcOrd="16" destOrd="0" presId="urn:microsoft.com/office/officeart/2011/layout/CircleProcess"/>
    <dgm:cxn modelId="{200603F4-D4B4-4BA7-8DF0-75F65D1B1904}" type="presParOf" srcId="{EEC48FC6-276E-4867-901C-C605A6BB942B}" destId="{BFAF17AD-2C01-483D-B9CF-66C4072E06F2}" srcOrd="0" destOrd="0" presId="urn:microsoft.com/office/officeart/2011/layout/CircleProcess"/>
    <dgm:cxn modelId="{62D3FC1E-3101-4651-8ACA-D77049BE4FB2}" type="presParOf" srcId="{E7100E46-6218-4912-B915-80D58AE6B2D2}" destId="{FC07E5A6-022D-44DF-95D7-843ADA9A5699}" srcOrd="17" destOrd="0" presId="urn:microsoft.com/office/officeart/2011/layout/CircleProcess"/>
    <dgm:cxn modelId="{968E77B3-CE53-46B9-ABDE-93C9DECDCE49}" type="presParOf" srcId="{E7100E46-6218-4912-B915-80D58AE6B2D2}" destId="{C51BB627-3487-4D11-B768-5C003FDFE806}" srcOrd="18" destOrd="0" presId="urn:microsoft.com/office/officeart/2011/layout/CircleProcess"/>
    <dgm:cxn modelId="{F7AA28D1-102E-4481-A1BF-D5200F698B34}" type="presParOf" srcId="{C51BB627-3487-4D11-B768-5C003FDFE806}" destId="{0EA4057F-7A33-4D24-A546-200F25AFF980}" srcOrd="0" destOrd="0" presId="urn:microsoft.com/office/officeart/2011/layout/CircleProcess"/>
    <dgm:cxn modelId="{20F7C6D6-F308-4BCD-97D9-A53C98AD2689}" type="presParOf" srcId="{E7100E46-6218-4912-B915-80D58AE6B2D2}" destId="{22F6A84B-FE20-4BAE-A87B-51F36DF4219E}" srcOrd="19" destOrd="0" presId="urn:microsoft.com/office/officeart/2011/layout/CircleProcess"/>
    <dgm:cxn modelId="{3CF1D855-3DF2-470A-BF02-AD6AEAFEAAAA}" type="presParOf" srcId="{22F6A84B-FE20-4BAE-A87B-51F36DF4219E}" destId="{BDFA736E-A008-411B-936C-7DA3FF8E614A}" srcOrd="0" destOrd="0" presId="urn:microsoft.com/office/officeart/2011/layout/CircleProcess"/>
    <dgm:cxn modelId="{9E58864C-DA5F-4077-A039-0E31CCA1C771}" type="presParOf" srcId="{E7100E46-6218-4912-B915-80D58AE6B2D2}" destId="{86D96B63-1A72-481B-A849-9FAEC806B111}" srcOrd="20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7D4E245-E0B8-4C29-85D8-8D17AB43606E}" type="doc">
      <dgm:prSet loTypeId="urn:microsoft.com/office/officeart/2005/8/layout/chart3" loCatId="cycle" qsTypeId="urn:microsoft.com/office/officeart/2005/8/quickstyle/simple1" qsCatId="simple" csTypeId="urn:microsoft.com/office/officeart/2005/8/colors/colorful2" csCatId="colorful" phldr="1"/>
      <dgm:spPr/>
    </dgm:pt>
    <dgm:pt modelId="{B644817F-8099-452D-860D-D3555368F82C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GB" sz="1800" b="1" dirty="0">
              <a:latin typeface="Century Gothic" panose="020B0502020202020204" pitchFamily="34" charset="0"/>
            </a:rPr>
            <a:t>Asia</a:t>
          </a:r>
          <a:endParaRPr lang="de-DE" sz="1800" b="1" dirty="0">
            <a:latin typeface="Century Gothic" panose="020B0502020202020204" pitchFamily="34" charset="0"/>
          </a:endParaRPr>
        </a:p>
      </dgm:t>
    </dgm:pt>
    <dgm:pt modelId="{17959E9D-A47B-4702-A8D8-59D449D3074F}" type="parTrans" cxnId="{BC11F772-A3D5-4E60-8CF0-73E529C30A94}">
      <dgm:prSet/>
      <dgm:spPr/>
      <dgm:t>
        <a:bodyPr/>
        <a:lstStyle/>
        <a:p>
          <a:endParaRPr lang="de-DE" sz="1200" b="1">
            <a:latin typeface="Century Gothic" panose="020B0502020202020204" pitchFamily="34" charset="0"/>
          </a:endParaRPr>
        </a:p>
      </dgm:t>
    </dgm:pt>
    <dgm:pt modelId="{005FA5A3-565C-4715-884B-28C06A9756E6}" type="sibTrans" cxnId="{BC11F772-A3D5-4E60-8CF0-73E529C30A94}">
      <dgm:prSet/>
      <dgm:spPr/>
      <dgm:t>
        <a:bodyPr/>
        <a:lstStyle/>
        <a:p>
          <a:endParaRPr lang="de-DE" sz="1200" b="1">
            <a:latin typeface="Century Gothic" panose="020B0502020202020204" pitchFamily="34" charset="0"/>
          </a:endParaRPr>
        </a:p>
      </dgm:t>
    </dgm:pt>
    <dgm:pt modelId="{0B6FDB26-28E4-46D4-AEEC-451A38A45794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GB" sz="1800" b="1">
              <a:latin typeface="Century Gothic" panose="020B0502020202020204" pitchFamily="34" charset="0"/>
            </a:rPr>
            <a:t>EMEA</a:t>
          </a:r>
          <a:endParaRPr lang="de-DE" sz="1800" b="1">
            <a:latin typeface="Century Gothic" panose="020B0502020202020204" pitchFamily="34" charset="0"/>
          </a:endParaRPr>
        </a:p>
      </dgm:t>
    </dgm:pt>
    <dgm:pt modelId="{BA5D5E57-1404-46CB-9C4D-F9239A6C193E}" type="parTrans" cxnId="{4B30208D-C35B-4225-810F-2CC6ED1F403A}">
      <dgm:prSet/>
      <dgm:spPr/>
      <dgm:t>
        <a:bodyPr/>
        <a:lstStyle/>
        <a:p>
          <a:endParaRPr lang="de-DE" sz="1200" b="1">
            <a:latin typeface="Century Gothic" panose="020B0502020202020204" pitchFamily="34" charset="0"/>
          </a:endParaRPr>
        </a:p>
      </dgm:t>
    </dgm:pt>
    <dgm:pt modelId="{886711BD-DA45-4BCD-8840-A5D8E219DC4A}" type="sibTrans" cxnId="{4B30208D-C35B-4225-810F-2CC6ED1F403A}">
      <dgm:prSet/>
      <dgm:spPr/>
      <dgm:t>
        <a:bodyPr/>
        <a:lstStyle/>
        <a:p>
          <a:endParaRPr lang="de-DE" sz="1200" b="1">
            <a:latin typeface="Century Gothic" panose="020B0502020202020204" pitchFamily="34" charset="0"/>
          </a:endParaRPr>
        </a:p>
      </dgm:t>
    </dgm:pt>
    <dgm:pt modelId="{F7885F6B-2DE9-4BB4-8468-E57019B891C8}">
      <dgm:prSet phldrT="[Text]" custT="1"/>
      <dgm:spPr/>
      <dgm:t>
        <a:bodyPr/>
        <a:lstStyle/>
        <a:p>
          <a:r>
            <a:rPr lang="en-GB" sz="1800" b="1">
              <a:latin typeface="Century Gothic" panose="020B0502020202020204" pitchFamily="34" charset="0"/>
            </a:rPr>
            <a:t>USA</a:t>
          </a:r>
          <a:endParaRPr lang="de-DE" sz="1800" b="1">
            <a:latin typeface="Century Gothic" panose="020B0502020202020204" pitchFamily="34" charset="0"/>
          </a:endParaRPr>
        </a:p>
      </dgm:t>
    </dgm:pt>
    <dgm:pt modelId="{8AE41FE1-C107-4BA1-90D7-0FB04B12AAD4}" type="parTrans" cxnId="{0F1C60FF-8896-443F-9976-19C235699325}">
      <dgm:prSet/>
      <dgm:spPr/>
      <dgm:t>
        <a:bodyPr/>
        <a:lstStyle/>
        <a:p>
          <a:endParaRPr lang="de-DE" sz="1200" b="1">
            <a:latin typeface="Century Gothic" panose="020B0502020202020204" pitchFamily="34" charset="0"/>
          </a:endParaRPr>
        </a:p>
      </dgm:t>
    </dgm:pt>
    <dgm:pt modelId="{D6414552-80D1-4B9E-AF0E-2026F52E9E09}" type="sibTrans" cxnId="{0F1C60FF-8896-443F-9976-19C235699325}">
      <dgm:prSet/>
      <dgm:spPr/>
      <dgm:t>
        <a:bodyPr/>
        <a:lstStyle/>
        <a:p>
          <a:endParaRPr lang="de-DE" sz="1200" b="1">
            <a:latin typeface="Century Gothic" panose="020B0502020202020204" pitchFamily="34" charset="0"/>
          </a:endParaRPr>
        </a:p>
      </dgm:t>
    </dgm:pt>
    <dgm:pt modelId="{3A2A9523-5DA2-4823-97BF-A1A68D8930F3}" type="pres">
      <dgm:prSet presAssocID="{47D4E245-E0B8-4C29-85D8-8D17AB43606E}" presName="compositeShape" presStyleCnt="0">
        <dgm:presLayoutVars>
          <dgm:chMax val="7"/>
          <dgm:dir/>
          <dgm:resizeHandles val="exact"/>
        </dgm:presLayoutVars>
      </dgm:prSet>
      <dgm:spPr/>
    </dgm:pt>
    <dgm:pt modelId="{D6C3A83B-B0C3-4935-9046-C9B3E2D45A38}" type="pres">
      <dgm:prSet presAssocID="{47D4E245-E0B8-4C29-85D8-8D17AB43606E}" presName="wedge1" presStyleLbl="node1" presStyleIdx="0" presStyleCnt="3" custLinFactNeighborX="-5356" custLinFactNeighborY="2594"/>
      <dgm:spPr/>
    </dgm:pt>
    <dgm:pt modelId="{9DE8F7C4-C896-4E4B-9D0A-3C4F93913FCB}" type="pres">
      <dgm:prSet presAssocID="{47D4E245-E0B8-4C29-85D8-8D17AB43606E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60DFCCFF-5098-483C-863B-C5C11333E9AC}" type="pres">
      <dgm:prSet presAssocID="{47D4E245-E0B8-4C29-85D8-8D17AB43606E}" presName="wedge2" presStyleLbl="node1" presStyleIdx="1" presStyleCnt="3" custLinFactNeighborY="0"/>
      <dgm:spPr/>
    </dgm:pt>
    <dgm:pt modelId="{0F3123A3-9A41-4E79-9271-F8944AF1A6CD}" type="pres">
      <dgm:prSet presAssocID="{47D4E245-E0B8-4C29-85D8-8D17AB43606E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878FF6EF-3404-4C4E-A7FD-1FA893D0F46A}" type="pres">
      <dgm:prSet presAssocID="{47D4E245-E0B8-4C29-85D8-8D17AB43606E}" presName="wedge3" presStyleLbl="node1" presStyleIdx="2" presStyleCnt="3"/>
      <dgm:spPr/>
    </dgm:pt>
    <dgm:pt modelId="{A5014487-1F59-44EB-921C-A35DC73BC4F6}" type="pres">
      <dgm:prSet presAssocID="{47D4E245-E0B8-4C29-85D8-8D17AB43606E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C8B03704-8B3C-447F-A31B-649F601F0F8C}" type="presOf" srcId="{47D4E245-E0B8-4C29-85D8-8D17AB43606E}" destId="{3A2A9523-5DA2-4823-97BF-A1A68D8930F3}" srcOrd="0" destOrd="0" presId="urn:microsoft.com/office/officeart/2005/8/layout/chart3"/>
    <dgm:cxn modelId="{5DF7D044-3A74-468A-A5E2-F2C43A282156}" type="presOf" srcId="{0B6FDB26-28E4-46D4-AEEC-451A38A45794}" destId="{0F3123A3-9A41-4E79-9271-F8944AF1A6CD}" srcOrd="1" destOrd="0" presId="urn:microsoft.com/office/officeart/2005/8/layout/chart3"/>
    <dgm:cxn modelId="{BC11F772-A3D5-4E60-8CF0-73E529C30A94}" srcId="{47D4E245-E0B8-4C29-85D8-8D17AB43606E}" destId="{B644817F-8099-452D-860D-D3555368F82C}" srcOrd="0" destOrd="0" parTransId="{17959E9D-A47B-4702-A8D8-59D449D3074F}" sibTransId="{005FA5A3-565C-4715-884B-28C06A9756E6}"/>
    <dgm:cxn modelId="{04B03B84-0A40-41F9-8EFE-4E33AFB02D8C}" type="presOf" srcId="{0B6FDB26-28E4-46D4-AEEC-451A38A45794}" destId="{60DFCCFF-5098-483C-863B-C5C11333E9AC}" srcOrd="0" destOrd="0" presId="urn:microsoft.com/office/officeart/2005/8/layout/chart3"/>
    <dgm:cxn modelId="{4B30208D-C35B-4225-810F-2CC6ED1F403A}" srcId="{47D4E245-E0B8-4C29-85D8-8D17AB43606E}" destId="{0B6FDB26-28E4-46D4-AEEC-451A38A45794}" srcOrd="1" destOrd="0" parTransId="{BA5D5E57-1404-46CB-9C4D-F9239A6C193E}" sibTransId="{886711BD-DA45-4BCD-8840-A5D8E219DC4A}"/>
    <dgm:cxn modelId="{4072D493-0043-4EEC-BC3F-12A1692B3837}" type="presOf" srcId="{F7885F6B-2DE9-4BB4-8468-E57019B891C8}" destId="{878FF6EF-3404-4C4E-A7FD-1FA893D0F46A}" srcOrd="0" destOrd="0" presId="urn:microsoft.com/office/officeart/2005/8/layout/chart3"/>
    <dgm:cxn modelId="{96A67D99-36B2-43AE-85C0-E1EE87E1E7FA}" type="presOf" srcId="{B644817F-8099-452D-860D-D3555368F82C}" destId="{D6C3A83B-B0C3-4935-9046-C9B3E2D45A38}" srcOrd="0" destOrd="0" presId="urn:microsoft.com/office/officeart/2005/8/layout/chart3"/>
    <dgm:cxn modelId="{985916A2-CABB-4570-B7DF-1B6B86FD33BA}" type="presOf" srcId="{F7885F6B-2DE9-4BB4-8468-E57019B891C8}" destId="{A5014487-1F59-44EB-921C-A35DC73BC4F6}" srcOrd="1" destOrd="0" presId="urn:microsoft.com/office/officeart/2005/8/layout/chart3"/>
    <dgm:cxn modelId="{B2D41CFA-F259-4529-A306-4814520F3830}" type="presOf" srcId="{B644817F-8099-452D-860D-D3555368F82C}" destId="{9DE8F7C4-C896-4E4B-9D0A-3C4F93913FCB}" srcOrd="1" destOrd="0" presId="urn:microsoft.com/office/officeart/2005/8/layout/chart3"/>
    <dgm:cxn modelId="{0F1C60FF-8896-443F-9976-19C235699325}" srcId="{47D4E245-E0B8-4C29-85D8-8D17AB43606E}" destId="{F7885F6B-2DE9-4BB4-8468-E57019B891C8}" srcOrd="2" destOrd="0" parTransId="{8AE41FE1-C107-4BA1-90D7-0FB04B12AAD4}" sibTransId="{D6414552-80D1-4B9E-AF0E-2026F52E9E09}"/>
    <dgm:cxn modelId="{C4721F91-B58F-4B53-B47E-31649EA842AE}" type="presParOf" srcId="{3A2A9523-5DA2-4823-97BF-A1A68D8930F3}" destId="{D6C3A83B-B0C3-4935-9046-C9B3E2D45A38}" srcOrd="0" destOrd="0" presId="urn:microsoft.com/office/officeart/2005/8/layout/chart3"/>
    <dgm:cxn modelId="{EB443E0B-9970-4552-9282-F1785E6778FB}" type="presParOf" srcId="{3A2A9523-5DA2-4823-97BF-A1A68D8930F3}" destId="{9DE8F7C4-C896-4E4B-9D0A-3C4F93913FCB}" srcOrd="1" destOrd="0" presId="urn:microsoft.com/office/officeart/2005/8/layout/chart3"/>
    <dgm:cxn modelId="{A809838A-438B-4909-BC76-661A79BB7380}" type="presParOf" srcId="{3A2A9523-5DA2-4823-97BF-A1A68D8930F3}" destId="{60DFCCFF-5098-483C-863B-C5C11333E9AC}" srcOrd="2" destOrd="0" presId="urn:microsoft.com/office/officeart/2005/8/layout/chart3"/>
    <dgm:cxn modelId="{5458CD59-B221-410A-B96B-5C7DD30A6487}" type="presParOf" srcId="{3A2A9523-5DA2-4823-97BF-A1A68D8930F3}" destId="{0F3123A3-9A41-4E79-9271-F8944AF1A6CD}" srcOrd="3" destOrd="0" presId="urn:microsoft.com/office/officeart/2005/8/layout/chart3"/>
    <dgm:cxn modelId="{C85087FC-3F84-466B-AFBB-32D1BD656CAB}" type="presParOf" srcId="{3A2A9523-5DA2-4823-97BF-A1A68D8930F3}" destId="{878FF6EF-3404-4C4E-A7FD-1FA893D0F46A}" srcOrd="4" destOrd="0" presId="urn:microsoft.com/office/officeart/2005/8/layout/chart3"/>
    <dgm:cxn modelId="{478957F0-8FA3-43C3-87F4-DCBB48AC9767}" type="presParOf" srcId="{3A2A9523-5DA2-4823-97BF-A1A68D8930F3}" destId="{A5014487-1F59-44EB-921C-A35DC73BC4F6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C40DD5-48E9-4921-8084-0B93E281A25A}">
      <dsp:nvSpPr>
        <dsp:cNvPr id="0" name=""/>
        <dsp:cNvSpPr/>
      </dsp:nvSpPr>
      <dsp:spPr>
        <a:xfrm>
          <a:off x="10082437" y="1930588"/>
          <a:ext cx="1558240" cy="1557762"/>
        </a:xfrm>
        <a:prstGeom prst="ellips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EC3A42-0AA1-4B62-B623-8D8FC883EE2D}">
      <dsp:nvSpPr>
        <dsp:cNvPr id="0" name=""/>
        <dsp:cNvSpPr/>
      </dsp:nvSpPr>
      <dsp:spPr>
        <a:xfrm>
          <a:off x="10135376" y="1982523"/>
          <a:ext cx="1453513" cy="1453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>
              <a:latin typeface="Century Gothic" panose="020B0502020202020204" pitchFamily="34" charset="0"/>
              <a:cs typeface="Arial" panose="020B0604020202020204" pitchFamily="34" charset="0"/>
            </a:rPr>
            <a:t>Now</a:t>
          </a:r>
          <a:endParaRPr lang="en-GB" sz="3300" b="1" kern="1200" dirty="0">
            <a:latin typeface="Century Gothic" panose="020B0502020202020204" pitchFamily="34" charset="0"/>
            <a:cs typeface="Arial" panose="020B0604020202020204" pitchFamily="34" charset="0"/>
          </a:endParaRPr>
        </a:p>
      </dsp:txBody>
      <dsp:txXfrm>
        <a:off x="10342528" y="2190261"/>
        <a:ext cx="1038059" cy="1038417"/>
      </dsp:txXfrm>
    </dsp:sp>
    <dsp:sp modelId="{40F33CC6-F9EE-40B2-A66C-D3CB1F908B60}">
      <dsp:nvSpPr>
        <dsp:cNvPr id="0" name=""/>
        <dsp:cNvSpPr/>
      </dsp:nvSpPr>
      <dsp:spPr>
        <a:xfrm rot="2700000">
          <a:off x="8473185" y="1930413"/>
          <a:ext cx="1557839" cy="1557839"/>
        </a:xfrm>
        <a:prstGeom prst="teardrop">
          <a:avLst>
            <a:gd name="adj" fmla="val 100000"/>
          </a:avLst>
        </a:prstGeom>
        <a:solidFill>
          <a:schemeClr val="accent2">
            <a:shade val="80000"/>
            <a:hueOff val="40367"/>
            <a:satOff val="-9680"/>
            <a:lumOff val="670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0DAE8D-3EE4-43D0-957A-121C36A7CA60}">
      <dsp:nvSpPr>
        <dsp:cNvPr id="0" name=""/>
        <dsp:cNvSpPr/>
      </dsp:nvSpPr>
      <dsp:spPr>
        <a:xfrm>
          <a:off x="8525348" y="1982523"/>
          <a:ext cx="1453513" cy="1453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40367"/>
              <a:satOff val="-9680"/>
              <a:lumOff val="670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>
              <a:latin typeface="Century Gothic" panose="020B0502020202020204" pitchFamily="34" charset="0"/>
              <a:cs typeface="Arial" panose="020B0604020202020204" pitchFamily="34" charset="0"/>
            </a:rPr>
            <a:t>2000s</a:t>
          </a:r>
          <a:endParaRPr lang="en-GB" sz="2700" b="1" kern="1200" dirty="0">
            <a:latin typeface="Century Gothic" panose="020B0502020202020204" pitchFamily="34" charset="0"/>
            <a:cs typeface="Arial" panose="020B0604020202020204" pitchFamily="34" charset="0"/>
          </a:endParaRPr>
        </a:p>
      </dsp:txBody>
      <dsp:txXfrm>
        <a:off x="8732499" y="2190261"/>
        <a:ext cx="1038059" cy="1038417"/>
      </dsp:txXfrm>
    </dsp:sp>
    <dsp:sp modelId="{50EA81F9-E6DC-4F0A-A475-88AE649B9B3F}">
      <dsp:nvSpPr>
        <dsp:cNvPr id="0" name=""/>
        <dsp:cNvSpPr/>
      </dsp:nvSpPr>
      <dsp:spPr>
        <a:xfrm rot="2700000">
          <a:off x="6864308" y="1930413"/>
          <a:ext cx="1557839" cy="1557839"/>
        </a:xfrm>
        <a:prstGeom prst="teardrop">
          <a:avLst>
            <a:gd name="adj" fmla="val 100000"/>
          </a:avLst>
        </a:prstGeom>
        <a:solidFill>
          <a:schemeClr val="accent2">
            <a:shade val="80000"/>
            <a:hueOff val="80734"/>
            <a:satOff val="-19360"/>
            <a:lumOff val="1340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AB170E2-9C5D-47FF-BE4F-04605729B948}">
      <dsp:nvSpPr>
        <dsp:cNvPr id="0" name=""/>
        <dsp:cNvSpPr/>
      </dsp:nvSpPr>
      <dsp:spPr>
        <a:xfrm>
          <a:off x="6915320" y="1982523"/>
          <a:ext cx="1453513" cy="1453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80734"/>
              <a:satOff val="-19360"/>
              <a:lumOff val="1340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>
              <a:latin typeface="Century Gothic" panose="020B0502020202020204" pitchFamily="34" charset="0"/>
              <a:cs typeface="Arial" panose="020B0604020202020204" pitchFamily="34" charset="0"/>
            </a:rPr>
            <a:t>1990s</a:t>
          </a:r>
          <a:endParaRPr lang="en-GB" sz="2700" b="1" kern="1200" dirty="0">
            <a:latin typeface="Century Gothic" panose="020B0502020202020204" pitchFamily="34" charset="0"/>
            <a:cs typeface="Arial" panose="020B0604020202020204" pitchFamily="34" charset="0"/>
          </a:endParaRPr>
        </a:p>
      </dsp:txBody>
      <dsp:txXfrm>
        <a:off x="7123622" y="2190261"/>
        <a:ext cx="1038059" cy="1038417"/>
      </dsp:txXfrm>
    </dsp:sp>
    <dsp:sp modelId="{52DC20BF-F4CE-4387-80A1-BF5DDB6B75A8}">
      <dsp:nvSpPr>
        <dsp:cNvPr id="0" name=""/>
        <dsp:cNvSpPr/>
      </dsp:nvSpPr>
      <dsp:spPr>
        <a:xfrm rot="2700000">
          <a:off x="5254280" y="1930413"/>
          <a:ext cx="1557839" cy="1557839"/>
        </a:xfrm>
        <a:prstGeom prst="teardrop">
          <a:avLst>
            <a:gd name="adj" fmla="val 100000"/>
          </a:avLst>
        </a:prstGeom>
        <a:solidFill>
          <a:schemeClr val="accent2">
            <a:shade val="80000"/>
            <a:hueOff val="121101"/>
            <a:satOff val="-29040"/>
            <a:lumOff val="201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5F7562C-3111-4AAF-9758-E9C802BB332F}">
      <dsp:nvSpPr>
        <dsp:cNvPr id="0" name=""/>
        <dsp:cNvSpPr/>
      </dsp:nvSpPr>
      <dsp:spPr>
        <a:xfrm>
          <a:off x="5306443" y="1982523"/>
          <a:ext cx="1453513" cy="1453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121101"/>
              <a:satOff val="-29040"/>
              <a:lumOff val="2010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>
              <a:latin typeface="Century Gothic" panose="020B0502020202020204" pitchFamily="34" charset="0"/>
              <a:cs typeface="Arial" panose="020B0604020202020204" pitchFamily="34" charset="0"/>
            </a:rPr>
            <a:t>1980s</a:t>
          </a:r>
          <a:endParaRPr lang="en-GB" sz="2700" b="1" kern="1200" dirty="0">
            <a:latin typeface="Century Gothic" panose="020B0502020202020204" pitchFamily="34" charset="0"/>
            <a:cs typeface="Arial" panose="020B0604020202020204" pitchFamily="34" charset="0"/>
          </a:endParaRPr>
        </a:p>
      </dsp:txBody>
      <dsp:txXfrm>
        <a:off x="5513594" y="2190261"/>
        <a:ext cx="1038059" cy="1038417"/>
      </dsp:txXfrm>
    </dsp:sp>
    <dsp:sp modelId="{80546787-D649-4196-B58C-1F867D304CBE}">
      <dsp:nvSpPr>
        <dsp:cNvPr id="0" name=""/>
        <dsp:cNvSpPr/>
      </dsp:nvSpPr>
      <dsp:spPr>
        <a:xfrm rot="2700000">
          <a:off x="3644251" y="1930413"/>
          <a:ext cx="1557839" cy="1557839"/>
        </a:xfrm>
        <a:prstGeom prst="teardrop">
          <a:avLst>
            <a:gd name="adj" fmla="val 100000"/>
          </a:avLst>
        </a:prstGeom>
        <a:solidFill>
          <a:schemeClr val="accent2">
            <a:shade val="80000"/>
            <a:hueOff val="161468"/>
            <a:satOff val="-38721"/>
            <a:lumOff val="2680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A98126-BC45-44A5-805B-8D0BFC6FBC89}">
      <dsp:nvSpPr>
        <dsp:cNvPr id="0" name=""/>
        <dsp:cNvSpPr/>
      </dsp:nvSpPr>
      <dsp:spPr>
        <a:xfrm>
          <a:off x="3696414" y="1982523"/>
          <a:ext cx="1453513" cy="1453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161468"/>
              <a:satOff val="-38721"/>
              <a:lumOff val="2680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>
              <a:latin typeface="Century Gothic" panose="020B0502020202020204" pitchFamily="34" charset="0"/>
              <a:cs typeface="Arial" panose="020B0604020202020204" pitchFamily="34" charset="0"/>
            </a:rPr>
            <a:t>1970s</a:t>
          </a:r>
        </a:p>
      </dsp:txBody>
      <dsp:txXfrm>
        <a:off x="3903566" y="2190261"/>
        <a:ext cx="1038059" cy="1038417"/>
      </dsp:txXfrm>
    </dsp:sp>
    <dsp:sp modelId="{57E0D054-28CE-4026-A0E5-9944F76517BD}">
      <dsp:nvSpPr>
        <dsp:cNvPr id="0" name=""/>
        <dsp:cNvSpPr/>
      </dsp:nvSpPr>
      <dsp:spPr>
        <a:xfrm rot="2700000">
          <a:off x="2035374" y="1930413"/>
          <a:ext cx="1557839" cy="1557839"/>
        </a:xfrm>
        <a:prstGeom prst="teardrop">
          <a:avLst>
            <a:gd name="adj" fmla="val 100000"/>
          </a:avLst>
        </a:prstGeom>
        <a:solidFill>
          <a:schemeClr val="accent2">
            <a:shade val="80000"/>
            <a:hueOff val="201835"/>
            <a:satOff val="-48401"/>
            <a:lumOff val="3350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AF17AD-2C01-483D-B9CF-66C4072E06F2}">
      <dsp:nvSpPr>
        <dsp:cNvPr id="0" name=""/>
        <dsp:cNvSpPr/>
      </dsp:nvSpPr>
      <dsp:spPr>
        <a:xfrm>
          <a:off x="2086386" y="1982523"/>
          <a:ext cx="1453513" cy="1453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201835"/>
              <a:satOff val="-48401"/>
              <a:lumOff val="3350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>
              <a:latin typeface="Century Gothic" panose="020B0502020202020204" pitchFamily="34" charset="0"/>
              <a:cs typeface="Arial" panose="020B0604020202020204" pitchFamily="34" charset="0"/>
            </a:rPr>
            <a:t>1960s</a:t>
          </a:r>
        </a:p>
      </dsp:txBody>
      <dsp:txXfrm>
        <a:off x="2294689" y="2190261"/>
        <a:ext cx="1038059" cy="1038417"/>
      </dsp:txXfrm>
    </dsp:sp>
    <dsp:sp modelId="{0EA4057F-7A33-4D24-A546-200F25AFF980}">
      <dsp:nvSpPr>
        <dsp:cNvPr id="0" name=""/>
        <dsp:cNvSpPr/>
      </dsp:nvSpPr>
      <dsp:spPr>
        <a:xfrm rot="2700000">
          <a:off x="425346" y="1930413"/>
          <a:ext cx="1557839" cy="1557839"/>
        </a:xfrm>
        <a:prstGeom prst="teardrop">
          <a:avLst>
            <a:gd name="adj" fmla="val 100000"/>
          </a:avLst>
        </a:prstGeom>
        <a:solidFill>
          <a:schemeClr val="accent2">
            <a:shade val="80000"/>
            <a:hueOff val="242202"/>
            <a:satOff val="-58081"/>
            <a:lumOff val="402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FA736E-A008-411B-936C-7DA3FF8E614A}">
      <dsp:nvSpPr>
        <dsp:cNvPr id="0" name=""/>
        <dsp:cNvSpPr/>
      </dsp:nvSpPr>
      <dsp:spPr>
        <a:xfrm>
          <a:off x="477509" y="1982523"/>
          <a:ext cx="1453513" cy="1453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242202"/>
              <a:satOff val="-58081"/>
              <a:lumOff val="402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>
              <a:latin typeface="Century Gothic" panose="020B0502020202020204" pitchFamily="34" charset="0"/>
              <a:cs typeface="Arial" panose="020B0604020202020204" pitchFamily="34" charset="0"/>
            </a:rPr>
            <a:t>1959</a:t>
          </a:r>
          <a:endParaRPr lang="en-GB" sz="2800" b="1" kern="1200" dirty="0">
            <a:latin typeface="Century Gothic" panose="020B0502020202020204" pitchFamily="34" charset="0"/>
            <a:cs typeface="Arial" panose="020B0604020202020204" pitchFamily="34" charset="0"/>
          </a:endParaRPr>
        </a:p>
      </dsp:txBody>
      <dsp:txXfrm>
        <a:off x="684661" y="2190261"/>
        <a:ext cx="1038059" cy="10384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C3A83B-B0C3-4935-9046-C9B3E2D45A38}">
      <dsp:nvSpPr>
        <dsp:cNvPr id="0" name=""/>
        <dsp:cNvSpPr/>
      </dsp:nvSpPr>
      <dsp:spPr>
        <a:xfrm>
          <a:off x="623804" y="215175"/>
          <a:ext cx="2024284" cy="2024284"/>
        </a:xfrm>
        <a:prstGeom prst="pie">
          <a:avLst>
            <a:gd name="adj1" fmla="val 16200000"/>
            <a:gd name="adj2" fmla="val 180000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latin typeface="Century Gothic" panose="020B0502020202020204" pitchFamily="34" charset="0"/>
            </a:rPr>
            <a:t>Asia</a:t>
          </a:r>
          <a:endParaRPr lang="de-DE" sz="1800" b="1" kern="1200" dirty="0">
            <a:latin typeface="Century Gothic" panose="020B0502020202020204" pitchFamily="34" charset="0"/>
          </a:endParaRPr>
        </a:p>
      </dsp:txBody>
      <dsp:txXfrm>
        <a:off x="1724388" y="588704"/>
        <a:ext cx="686810" cy="674761"/>
      </dsp:txXfrm>
    </dsp:sp>
    <dsp:sp modelId="{60DFCCFF-5098-483C-863B-C5C11333E9AC}">
      <dsp:nvSpPr>
        <dsp:cNvPr id="0" name=""/>
        <dsp:cNvSpPr/>
      </dsp:nvSpPr>
      <dsp:spPr>
        <a:xfrm>
          <a:off x="627878" y="222912"/>
          <a:ext cx="2024284" cy="2024284"/>
        </a:xfrm>
        <a:prstGeom prst="pie">
          <a:avLst>
            <a:gd name="adj1" fmla="val 1800000"/>
            <a:gd name="adj2" fmla="val 9000000"/>
          </a:avLst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>
              <a:latin typeface="Century Gothic" panose="020B0502020202020204" pitchFamily="34" charset="0"/>
            </a:rPr>
            <a:t>EMEA</a:t>
          </a:r>
          <a:endParaRPr lang="de-DE" sz="1800" b="1" kern="1200">
            <a:latin typeface="Century Gothic" panose="020B0502020202020204" pitchFamily="34" charset="0"/>
          </a:endParaRPr>
        </a:p>
      </dsp:txBody>
      <dsp:txXfrm>
        <a:off x="1182146" y="1500139"/>
        <a:ext cx="915747" cy="626564"/>
      </dsp:txXfrm>
    </dsp:sp>
    <dsp:sp modelId="{878FF6EF-3404-4C4E-A7FD-1FA893D0F46A}">
      <dsp:nvSpPr>
        <dsp:cNvPr id="0" name=""/>
        <dsp:cNvSpPr/>
      </dsp:nvSpPr>
      <dsp:spPr>
        <a:xfrm>
          <a:off x="627878" y="222912"/>
          <a:ext cx="2024284" cy="2024284"/>
        </a:xfrm>
        <a:prstGeom prst="pie">
          <a:avLst>
            <a:gd name="adj1" fmla="val 9000000"/>
            <a:gd name="adj2" fmla="val 16200000"/>
          </a:avLst>
        </a:prstGeom>
        <a:solidFill>
          <a:schemeClr val="accent2">
            <a:hueOff val="-13991101"/>
            <a:satOff val="-67690"/>
            <a:lumOff val="5450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>
              <a:latin typeface="Century Gothic" panose="020B0502020202020204" pitchFamily="34" charset="0"/>
            </a:rPr>
            <a:t>USA</a:t>
          </a:r>
          <a:endParaRPr lang="de-DE" sz="1800" b="1" kern="1200">
            <a:latin typeface="Century Gothic" panose="020B0502020202020204" pitchFamily="34" charset="0"/>
          </a:endParaRPr>
        </a:p>
      </dsp:txBody>
      <dsp:txXfrm>
        <a:off x="844766" y="620539"/>
        <a:ext cx="686810" cy="6747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1047722-8887-4E78-830A-72B9673B072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Century Gothic" panose="020B0502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A83713-03C4-44A5-9D58-172E592F1BC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DD2D9-5182-4916-ADEF-90B7C5F3F418}" type="datetimeFigureOut">
              <a:rPr lang="en-GB" smtClean="0">
                <a:latin typeface="Century Gothic" panose="020B0502020202020204" pitchFamily="34" charset="0"/>
              </a:rPr>
              <a:t>12/04/2023</a:t>
            </a:fld>
            <a:endParaRPr lang="en-GB" dirty="0">
              <a:latin typeface="Century Gothic" panose="020B0502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661F0B-5AAF-4283-81CF-1F1B0982B07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3855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9DDB31-FCC6-424B-A7A2-7FEB3E37AD1D}" type="datetimeFigureOut">
              <a:rPr lang="en-GB" smtClean="0"/>
              <a:t>12/04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24732-CA77-428D-80F9-8F605507D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6696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C28B62-CC9E-4782-B6A0-39D79EB12A5D}" type="slidenum">
              <a:rPr lang="en-GB" smtClean="0"/>
              <a:t>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927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6.jpeg"/><Relationship Id="rId12" Type="http://schemas.openxmlformats.org/officeDocument/2006/relationships/image" Target="../media/image11.jpeg"/><Relationship Id="rId2" Type="http://schemas.openxmlformats.org/officeDocument/2006/relationships/diagramData" Target="../diagrams/data1.xml"/><Relationship Id="rId16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1.xml"/><Relationship Id="rId11" Type="http://schemas.openxmlformats.org/officeDocument/2006/relationships/image" Target="../media/image10.jpeg"/><Relationship Id="rId5" Type="http://schemas.openxmlformats.org/officeDocument/2006/relationships/diagramColors" Target="../diagrams/colors1.xml"/><Relationship Id="rId15" Type="http://schemas.openxmlformats.org/officeDocument/2006/relationships/image" Target="../media/image14.jpeg"/><Relationship Id="rId10" Type="http://schemas.openxmlformats.org/officeDocument/2006/relationships/image" Target="../media/image9.jpe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png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F5D1722-1E0C-4C89-ACC9-C9E966A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004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9" imgH="330" progId="TCLayout.ActiveDocument.1">
                  <p:embed/>
                </p:oleObj>
              </mc:Choice>
              <mc:Fallback>
                <p:oleObj name="think-cell Folie" r:id="rId4" imgW="329" imgH="3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F5D1722-1E0C-4C89-ACC9-C9E966AA8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0EBAC72-E8FE-4246-AB75-88A12A9F7B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/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l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6934F5-E218-411C-854B-ED5FB06ED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0C45A64-6490-4050-905B-6A29E64FDF80}"/>
              </a:ext>
            </a:extLst>
          </p:cNvPr>
          <p:cNvSpPr/>
          <p:nvPr userDrawn="1"/>
        </p:nvSpPr>
        <p:spPr>
          <a:xfrm>
            <a:off x="330628" y="1999185"/>
            <a:ext cx="7606910" cy="1354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163" tIns="42580" rIns="85163" bIns="42580" rtlCol="0" anchor="ctr"/>
          <a:lstStyle/>
          <a:p>
            <a:pPr algn="ctr"/>
            <a:endParaRPr lang="en-US" sz="1540" dirty="0">
              <a:latin typeface="Century Gothic" panose="020B0502020202020204" pitchFamily="34" charset="0"/>
            </a:endParaRPr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4327EC52-E2F0-4FB0-9F0A-F1E972A5C6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300228" y="2087062"/>
            <a:ext cx="5673723" cy="651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rgbClr val="7ACC00"/>
                </a:solidFill>
                <a:latin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Sub header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ABA66F7-AA6A-49BE-9E8A-E12ABEC7AE1E}"/>
              </a:ext>
            </a:extLst>
          </p:cNvPr>
          <p:cNvSpPr/>
          <p:nvPr userDrawn="1"/>
        </p:nvSpPr>
        <p:spPr>
          <a:xfrm>
            <a:off x="331357" y="2002395"/>
            <a:ext cx="224126" cy="1354666"/>
          </a:xfrm>
          <a:prstGeom prst="rect">
            <a:avLst/>
          </a:prstGeom>
          <a:solidFill>
            <a:srgbClr val="7A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163" tIns="42580" rIns="85163" bIns="42580" rtlCol="0" anchor="ctr"/>
          <a:lstStyle/>
          <a:p>
            <a:pPr algn="ctr"/>
            <a:endParaRPr lang="en-US" sz="1540" dirty="0">
              <a:solidFill>
                <a:srgbClr val="7ACC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25CBB20-A81B-4A7D-AE6D-5FFBA09AEA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00899" y="2738467"/>
            <a:ext cx="5673722" cy="5344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text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76309CE0-269F-41EB-8297-E5045DAAF8A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8384" y="1999186"/>
            <a:ext cx="4762989" cy="1354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B3D028-A7AC-4358-8B19-13CFF547FB0D}"/>
              </a:ext>
            </a:extLst>
          </p:cNvPr>
          <p:cNvSpPr/>
          <p:nvPr userDrawn="1"/>
        </p:nvSpPr>
        <p:spPr>
          <a:xfrm>
            <a:off x="331356" y="3492529"/>
            <a:ext cx="7605586" cy="1354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163" tIns="42580" rIns="85163" bIns="42580" rtlCol="0" anchor="ctr"/>
          <a:lstStyle/>
          <a:p>
            <a:pPr algn="ctr"/>
            <a:endParaRPr lang="en-US" sz="1540" dirty="0">
              <a:latin typeface="Century Gothic" panose="020B0502020202020204" pitchFamily="34" charset="0"/>
            </a:endParaRPr>
          </a:p>
        </p:txBody>
      </p:sp>
      <p:sp>
        <p:nvSpPr>
          <p:cNvPr id="24" name="Content Placeholder 9">
            <a:extLst>
              <a:ext uri="{FF2B5EF4-FFF2-40B4-BE49-F238E27FC236}">
                <a16:creationId xmlns:a16="http://schemas.microsoft.com/office/drawing/2014/main" id="{9FC6C8A0-F6BF-4627-BE32-934685E71E9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1300228" y="3577196"/>
            <a:ext cx="5673724" cy="651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Sub header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504F596-8D25-40F9-9F4C-B47D326B6D8B}"/>
              </a:ext>
            </a:extLst>
          </p:cNvPr>
          <p:cNvSpPr/>
          <p:nvPr userDrawn="1"/>
        </p:nvSpPr>
        <p:spPr>
          <a:xfrm>
            <a:off x="331358" y="3492529"/>
            <a:ext cx="221102" cy="135466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163" tIns="42580" rIns="85163" bIns="42580" rtlCol="0" anchor="ctr"/>
          <a:lstStyle/>
          <a:p>
            <a:pPr algn="ctr"/>
            <a:endParaRPr lang="en-US" sz="1540" dirty="0">
              <a:latin typeface="Century Gothic" panose="020B0502020202020204" pitchFamily="34" charset="0"/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0682E2B-5C98-4D09-97CF-4F8B63D267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00227" y="4228600"/>
            <a:ext cx="5674393" cy="5344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text</a:t>
            </a:r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0D5DB163-A046-4D05-B9F3-B3F1D5589D0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98383" y="3492529"/>
            <a:ext cx="4762989" cy="1354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8F0A575-D5FE-4895-8270-2229F8CEBCB9}"/>
              </a:ext>
            </a:extLst>
          </p:cNvPr>
          <p:cNvSpPr/>
          <p:nvPr userDrawn="1"/>
        </p:nvSpPr>
        <p:spPr>
          <a:xfrm>
            <a:off x="330628" y="4981873"/>
            <a:ext cx="7606910" cy="1354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163" tIns="42580" rIns="85163" bIns="42580" rtlCol="0" anchor="ctr"/>
          <a:lstStyle/>
          <a:p>
            <a:pPr algn="ctr"/>
            <a:endParaRPr lang="en-US" sz="1540" dirty="0">
              <a:latin typeface="Century Gothic" panose="020B0502020202020204" pitchFamily="34" charset="0"/>
            </a:endParaRPr>
          </a:p>
        </p:txBody>
      </p:sp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35798799-AC82-4AB1-8DA5-2288ABC3A99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300226" y="5066540"/>
            <a:ext cx="5673725" cy="651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rgbClr val="93328E"/>
                </a:solidFill>
                <a:latin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Sub header</a:t>
            </a: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D0404CE-CE8E-4275-B036-485C5C6194F8}"/>
              </a:ext>
            </a:extLst>
          </p:cNvPr>
          <p:cNvSpPr/>
          <p:nvPr userDrawn="1"/>
        </p:nvSpPr>
        <p:spPr>
          <a:xfrm>
            <a:off x="331358" y="4981873"/>
            <a:ext cx="221102" cy="1354666"/>
          </a:xfrm>
          <a:prstGeom prst="rect">
            <a:avLst/>
          </a:prstGeom>
          <a:solidFill>
            <a:srgbClr val="9332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163" tIns="42580" rIns="85163" bIns="42580" rtlCol="0" anchor="ctr"/>
          <a:lstStyle/>
          <a:p>
            <a:pPr algn="ctr"/>
            <a:endParaRPr lang="en-US" sz="1540" dirty="0">
              <a:latin typeface="Century Gothic" panose="020B0502020202020204" pitchFamily="34" charset="0"/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52ECC5FA-F704-4B82-96E3-C7F010DC5E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00225" y="5717945"/>
            <a:ext cx="5674395" cy="5344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text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A7D55108-EC4F-4137-9156-9C59F61793B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98383" y="4981873"/>
            <a:ext cx="4762990" cy="13546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AFA36F59-C49B-4F62-B035-575F60B46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628" y="255373"/>
            <a:ext cx="9407261" cy="7725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lnSpc>
                <a:spcPct val="80000"/>
              </a:lnSpc>
              <a:defRPr sz="3200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08B36342-8C1A-4F7F-A232-0A9802847EF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330628" y="1102936"/>
            <a:ext cx="11530744" cy="84944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subheader</a:t>
            </a:r>
            <a:endParaRPr lang="en-US" dirty="0"/>
          </a:p>
        </p:txBody>
      </p: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7B071EA9-E750-46F0-8E0A-321BFBE8C63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077" y="3574510"/>
            <a:ext cx="540000" cy="540000"/>
          </a:xfrm>
          <a:prstGeom prst="rect">
            <a:avLst/>
          </a:prstGeom>
        </p:spPr>
      </p:pic>
      <p:pic>
        <p:nvPicPr>
          <p:cNvPr id="38" name="Picture 37" descr="A picture containing drawing&#10;&#10;Description automatically generated">
            <a:extLst>
              <a:ext uri="{FF2B5EF4-FFF2-40B4-BE49-F238E27FC236}">
                <a16:creationId xmlns:a16="http://schemas.microsoft.com/office/drawing/2014/main" id="{7E0AF619-5B71-4A55-855A-4B110D7240D8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077" y="5066540"/>
            <a:ext cx="540000" cy="540000"/>
          </a:xfrm>
          <a:prstGeom prst="rect">
            <a:avLst/>
          </a:prstGeom>
        </p:spPr>
      </p:pic>
      <p:pic>
        <p:nvPicPr>
          <p:cNvPr id="39" name="Picture 38" descr="A picture containing game, drawing, room&#10;&#10;Description automatically generated">
            <a:extLst>
              <a:ext uri="{FF2B5EF4-FFF2-40B4-BE49-F238E27FC236}">
                <a16:creationId xmlns:a16="http://schemas.microsoft.com/office/drawing/2014/main" id="{2CF7F597-3F6E-4F7B-A73A-8E28DCB7426D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077" y="2087062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990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6934F5-E218-411C-854B-ED5FB06ED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8ACCCE-E412-4F65-8FDF-B4928E39CD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628" y="255373"/>
            <a:ext cx="9407261" cy="7725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lnSpc>
                <a:spcPct val="80000"/>
              </a:lnSpc>
              <a:defRPr sz="3200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EC0A6B5-12D2-4EF1-9299-E809E89AF94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30628" y="1102936"/>
            <a:ext cx="11530744" cy="801456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subheader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444BE4D-23E0-43A6-AB9C-F7D01CD05BB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0629" y="2271456"/>
            <a:ext cx="3742384" cy="3658003"/>
          </a:xfrm>
          <a:prstGeom prst="rect">
            <a:avLst/>
          </a:prstGeom>
        </p:spPr>
        <p:txBody>
          <a:bodyPr numCol="1"/>
          <a:lstStyle>
            <a:lvl1pPr marL="271463" indent="-271463">
              <a:buClr>
                <a:schemeClr val="accent1"/>
              </a:buClr>
              <a:buSzPct val="70000"/>
              <a:buFont typeface="Oxford Raleway" pitchFamily="2" charset="0"/>
              <a:buChar char="•"/>
              <a:defRPr>
                <a:latin typeface="Century Gothic" panose="020B0502020202020204" pitchFamily="34" charset="0"/>
              </a:defRPr>
            </a:lvl1pPr>
            <a:lvl2pPr marL="685800" indent="-228600">
              <a:buClr>
                <a:schemeClr val="accent2"/>
              </a:buClr>
              <a:buSzPct val="70000"/>
              <a:buFont typeface="Oxford Raleway" pitchFamily="2" charset="0"/>
              <a:buChar char="•"/>
              <a:defRPr>
                <a:solidFill>
                  <a:schemeClr val="accent2"/>
                </a:solidFill>
                <a:latin typeface="Century Gothic" panose="020B0502020202020204" pitchFamily="34" charset="0"/>
              </a:defRPr>
            </a:lvl2pPr>
            <a:lvl3pPr marL="1143000" indent="-228600">
              <a:buClr>
                <a:schemeClr val="accent6"/>
              </a:buClr>
              <a:buSzPct val="70000"/>
              <a:buFont typeface="Oxford Raleway" pitchFamily="2" charset="0"/>
              <a:buChar char="•"/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BB030A-D688-4508-BC5E-0B4DC331358E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20095" y="2271456"/>
            <a:ext cx="3742384" cy="3658003"/>
          </a:xfrm>
          <a:prstGeom prst="rect">
            <a:avLst/>
          </a:prstGeom>
        </p:spPr>
        <p:txBody>
          <a:bodyPr numCol="1"/>
          <a:lstStyle>
            <a:lvl1pPr marL="271463" indent="-271463">
              <a:buClr>
                <a:schemeClr val="accent1"/>
              </a:buClr>
              <a:buSzPct val="70000"/>
              <a:buFont typeface="Oxford Raleway" pitchFamily="2" charset="0"/>
              <a:buChar char="•"/>
              <a:defRPr>
                <a:latin typeface="Century Gothic" panose="020B0502020202020204" pitchFamily="34" charset="0"/>
              </a:defRPr>
            </a:lvl1pPr>
            <a:lvl2pPr marL="685800" indent="-228600">
              <a:buClr>
                <a:schemeClr val="accent2"/>
              </a:buClr>
              <a:buSzPct val="70000"/>
              <a:buFont typeface="Oxford Raleway" pitchFamily="2" charset="0"/>
              <a:buChar char="•"/>
              <a:defRPr>
                <a:solidFill>
                  <a:schemeClr val="accent2"/>
                </a:solidFill>
                <a:latin typeface="Century Gothic" panose="020B0502020202020204" pitchFamily="34" charset="0"/>
              </a:defRPr>
            </a:lvl2pPr>
            <a:lvl3pPr marL="1143000" indent="-228600">
              <a:buClr>
                <a:schemeClr val="accent6"/>
              </a:buClr>
              <a:buSzPct val="70000"/>
              <a:buFont typeface="Oxford Raleway" pitchFamily="2" charset="0"/>
              <a:buChar char="•"/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1C594C7-6E16-41B3-9EAB-59CD60A6204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18988" y="2271456"/>
            <a:ext cx="3742384" cy="3658003"/>
          </a:xfrm>
          <a:prstGeom prst="rect">
            <a:avLst/>
          </a:prstGeom>
        </p:spPr>
        <p:txBody>
          <a:bodyPr numCol="1"/>
          <a:lstStyle>
            <a:lvl1pPr marL="271463" indent="-271463">
              <a:buClr>
                <a:schemeClr val="accent1"/>
              </a:buClr>
              <a:buSzPct val="70000"/>
              <a:buFont typeface="Oxford Raleway" pitchFamily="2" charset="0"/>
              <a:buChar char="•"/>
              <a:defRPr>
                <a:latin typeface="Century Gothic" panose="020B0502020202020204" pitchFamily="34" charset="0"/>
              </a:defRPr>
            </a:lvl1pPr>
            <a:lvl2pPr marL="685800" indent="-228600">
              <a:buClr>
                <a:schemeClr val="accent2"/>
              </a:buClr>
              <a:buSzPct val="70000"/>
              <a:buFont typeface="Oxford Raleway" pitchFamily="2" charset="0"/>
              <a:buChar char="•"/>
              <a:defRPr>
                <a:solidFill>
                  <a:schemeClr val="accent2"/>
                </a:solidFill>
                <a:latin typeface="Century Gothic" panose="020B0502020202020204" pitchFamily="34" charset="0"/>
              </a:defRPr>
            </a:lvl2pPr>
            <a:lvl3pPr marL="1143000" indent="-228600">
              <a:buClr>
                <a:schemeClr val="accent6"/>
              </a:buClr>
              <a:buSzPct val="70000"/>
              <a:buFont typeface="Oxford Raleway" pitchFamily="2" charset="0"/>
              <a:buChar char="•"/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9667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969A99-9150-4854-8520-E351EAC5BF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1EB330A-18E1-4569-A20C-6363FF7D5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628" y="255373"/>
            <a:ext cx="9407261" cy="7725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lnSpc>
                <a:spcPct val="80000"/>
              </a:lnSpc>
              <a:defRPr sz="3200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0673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B65CB0C-B158-4BC6-95FB-FE594A7971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3331126"/>
              </p:ext>
            </p:extLst>
          </p:nvPr>
        </p:nvGraphicFramePr>
        <p:xfrm>
          <a:off x="-13617" y="75416"/>
          <a:ext cx="1174301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969A99-9150-4854-8520-E351EAC5BF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A262135-EEF7-CC4C-8221-52A3972B9A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Box 43">
            <a:extLst>
              <a:ext uri="{FF2B5EF4-FFF2-40B4-BE49-F238E27FC236}">
                <a16:creationId xmlns:a16="http://schemas.microsoft.com/office/drawing/2014/main" id="{D1EF3CC6-05E5-4562-8062-AD2F7DDDD4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786" y="4908840"/>
            <a:ext cx="1440000" cy="1300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noAutofit/>
          </a:bodyPr>
          <a:lstStyle/>
          <a:p>
            <a:pPr eaLnBrk="0" hangingPunct="0"/>
            <a:r>
              <a:rPr lang="en-GB" altLang="en-US" sz="1000" dirty="0">
                <a:solidFill>
                  <a:srgbClr val="4D4D4D"/>
                </a:solidFill>
                <a:latin typeface="Century Gothic" panose="020B0502020202020204" pitchFamily="34" charset="0"/>
              </a:rPr>
              <a:t>Founded by Sir Martin and Lady Audrey Wood, Oxford Instruments is the first commercial spinout from Oxford University</a:t>
            </a:r>
          </a:p>
        </p:txBody>
      </p:sp>
      <p:sp>
        <p:nvSpPr>
          <p:cNvPr id="16" name="TextBox 46">
            <a:extLst>
              <a:ext uri="{FF2B5EF4-FFF2-40B4-BE49-F238E27FC236}">
                <a16:creationId xmlns:a16="http://schemas.microsoft.com/office/drawing/2014/main" id="{8B9A595F-7A24-4F56-968B-20FE00493C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59978" y="4908840"/>
            <a:ext cx="1341802" cy="992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noAutofit/>
          </a:bodyPr>
          <a:lstStyle/>
          <a:p>
            <a:pPr eaLnBrk="0" hangingPunct="0"/>
            <a:r>
              <a:rPr lang="en-GB" altLang="en-US" sz="1000" dirty="0">
                <a:solidFill>
                  <a:srgbClr val="4D4D4D"/>
                </a:solidFill>
                <a:latin typeface="Century Gothic" panose="020B0502020202020204" pitchFamily="34" charset="0"/>
              </a:rPr>
              <a:t>Oxford Instruments develops the world’s first superconducting magnet</a:t>
            </a:r>
          </a:p>
        </p:txBody>
      </p:sp>
      <p:sp>
        <p:nvSpPr>
          <p:cNvPr id="17" name="TextBox 49">
            <a:extLst>
              <a:ext uri="{FF2B5EF4-FFF2-40B4-BE49-F238E27FC236}">
                <a16:creationId xmlns:a16="http://schemas.microsoft.com/office/drawing/2014/main" id="{6AA429A3-473B-48FE-9E73-6B68103A1A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8129" y="4908840"/>
            <a:ext cx="1341802" cy="838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noAutofit/>
          </a:bodyPr>
          <a:lstStyle/>
          <a:p>
            <a:pPr eaLnBrk="0" hangingPunct="0"/>
            <a:r>
              <a:rPr lang="en-GB" altLang="en-US" sz="1000" dirty="0">
                <a:solidFill>
                  <a:srgbClr val="4D4D4D"/>
                </a:solidFill>
                <a:latin typeface="Century Gothic" panose="020B0502020202020204" pitchFamily="34" charset="0"/>
              </a:rPr>
              <a:t>Oxford Instruments delivers the world’s first MRI system</a:t>
            </a:r>
          </a:p>
        </p:txBody>
      </p:sp>
      <p:sp>
        <p:nvSpPr>
          <p:cNvPr id="18" name="TextBox 52">
            <a:extLst>
              <a:ext uri="{FF2B5EF4-FFF2-40B4-BE49-F238E27FC236}">
                <a16:creationId xmlns:a16="http://schemas.microsoft.com/office/drawing/2014/main" id="{6CF595A5-543A-47D4-AC2C-16DE24B558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54802" y="4908840"/>
            <a:ext cx="1534844" cy="530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noAutofit/>
          </a:bodyPr>
          <a:lstStyle/>
          <a:p>
            <a:pPr eaLnBrk="0" hangingPunct="0"/>
            <a:r>
              <a:rPr lang="en-GB" altLang="en-US" sz="1000" dirty="0">
                <a:solidFill>
                  <a:srgbClr val="4D4D4D"/>
                </a:solidFill>
                <a:latin typeface="Century Gothic" panose="020B0502020202020204" pitchFamily="34" charset="0"/>
              </a:rPr>
              <a:t>Floated on the London Stock Exchange</a:t>
            </a:r>
          </a:p>
        </p:txBody>
      </p:sp>
      <p:sp>
        <p:nvSpPr>
          <p:cNvPr id="19" name="TextBox 66">
            <a:extLst>
              <a:ext uri="{FF2B5EF4-FFF2-40B4-BE49-F238E27FC236}">
                <a16:creationId xmlns:a16="http://schemas.microsoft.com/office/drawing/2014/main" id="{C88E10FD-597F-499E-8B48-65C5A20712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84721" y="4908840"/>
            <a:ext cx="1607568" cy="684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noAutofit/>
          </a:bodyPr>
          <a:lstStyle/>
          <a:p>
            <a:pPr eaLnBrk="0" hangingPunct="0"/>
            <a:r>
              <a:rPr lang="en-GB" altLang="en-US" sz="1000" dirty="0">
                <a:solidFill>
                  <a:srgbClr val="4D4D4D"/>
                </a:solidFill>
                <a:latin typeface="Century Gothic" panose="020B0502020202020204" pitchFamily="34" charset="0"/>
              </a:rPr>
              <a:t>The Group expands its global presence opening offices in Japan and China</a:t>
            </a:r>
          </a:p>
        </p:txBody>
      </p:sp>
      <p:sp>
        <p:nvSpPr>
          <p:cNvPr id="20" name="TextBox 55">
            <a:extLst>
              <a:ext uri="{FF2B5EF4-FFF2-40B4-BE49-F238E27FC236}">
                <a16:creationId xmlns:a16="http://schemas.microsoft.com/office/drawing/2014/main" id="{21BDDE71-00B6-4D93-86DE-31350DEA10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20299" y="4908840"/>
            <a:ext cx="1440000" cy="1086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noAutofit/>
          </a:bodyPr>
          <a:lstStyle/>
          <a:p>
            <a:pPr eaLnBrk="0" hangingPunct="0"/>
            <a:r>
              <a:rPr lang="en-GB" altLang="en-US" sz="1000" dirty="0">
                <a:solidFill>
                  <a:srgbClr val="4D4D4D"/>
                </a:solidFill>
                <a:latin typeface="Century Gothic" panose="020B0502020202020204" pitchFamily="34" charset="0"/>
              </a:rPr>
              <a:t>Continuing the heritage of innovative technologies, the Group develops unique cryogen free and silicon drift detector technologies</a:t>
            </a:r>
          </a:p>
        </p:txBody>
      </p:sp>
      <p:sp>
        <p:nvSpPr>
          <p:cNvPr id="21" name="TextBox 62">
            <a:extLst>
              <a:ext uri="{FF2B5EF4-FFF2-40B4-BE49-F238E27FC236}">
                <a16:creationId xmlns:a16="http://schemas.microsoft.com/office/drawing/2014/main" id="{B1CB4E4E-7D0B-4867-A41E-3B8E4846B7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14411" y="4908840"/>
            <a:ext cx="1571976" cy="1300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noAutofit/>
          </a:bodyPr>
          <a:lstStyle/>
          <a:p>
            <a:pPr eaLnBrk="0" hangingPunct="0"/>
            <a:r>
              <a:rPr lang="en-GB" altLang="en-US" sz="1000" dirty="0">
                <a:solidFill>
                  <a:srgbClr val="4D4D4D"/>
                </a:solidFill>
                <a:latin typeface="Century Gothic" panose="020B0502020202020204" pitchFamily="34" charset="0"/>
              </a:rPr>
              <a:t>The Group focuses on the opportunities for Nanotechnology arising from the ongoing convergence of the sciences, achieving growth organically and through acquisi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0419EDC-82CC-478D-AF81-02425791137D}"/>
              </a:ext>
            </a:extLst>
          </p:cNvPr>
          <p:cNvSpPr/>
          <p:nvPr/>
        </p:nvSpPr>
        <p:spPr>
          <a:xfrm>
            <a:off x="293899" y="1204756"/>
            <a:ext cx="11169095" cy="68480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en-GB" sz="2000" dirty="0">
                <a:latin typeface="Century Gothic" panose="020B0502020202020204" pitchFamily="34" charset="0"/>
                <a:cs typeface="Arial" panose="020B0604020202020204" pitchFamily="34" charset="0"/>
              </a:rPr>
              <a:t>Our objective is to become the leading provider of high-technology solutions, information and support for industry and research.</a:t>
            </a:r>
            <a:endParaRPr lang="zh-TW" altLang="en-US" sz="20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" descr="C:\Users\hoa\Desktop\DKoiA15XcAA38km.jpg">
            <a:extLst>
              <a:ext uri="{FF2B5EF4-FFF2-40B4-BE49-F238E27FC236}">
                <a16:creationId xmlns:a16="http://schemas.microsoft.com/office/drawing/2014/main" id="{D17764C8-2563-42DF-B88A-4FA8212925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6792" y="3653943"/>
            <a:ext cx="1483988" cy="1079568"/>
          </a:xfrm>
          <a:prstGeom prst="rect">
            <a:avLst/>
          </a:prstGeom>
          <a:ln w="317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C:\Users\hoa\Desktop\照片\09lse25.jpg">
            <a:extLst>
              <a:ext uri="{FF2B5EF4-FFF2-40B4-BE49-F238E27FC236}">
                <a16:creationId xmlns:a16="http://schemas.microsoft.com/office/drawing/2014/main" id="{249DA7C0-7846-4468-8AB3-418933CD81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54802" y="3649688"/>
            <a:ext cx="1466625" cy="1079569"/>
          </a:xfrm>
          <a:prstGeom prst="rect">
            <a:avLst/>
          </a:prstGeom>
          <a:ln w="317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5" descr="C:\Users\hoa\Desktop\simple_world_maps_vector_578783.jpg">
            <a:extLst>
              <a:ext uri="{FF2B5EF4-FFF2-40B4-BE49-F238E27FC236}">
                <a16:creationId xmlns:a16="http://schemas.microsoft.com/office/drawing/2014/main" id="{C71EE4CB-966A-41E6-B2E1-77A4D3CB28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51664" y="3649687"/>
            <a:ext cx="1673683" cy="1079569"/>
          </a:xfrm>
          <a:prstGeom prst="rect">
            <a:avLst/>
          </a:prstGeom>
          <a:ln w="317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C:\Users\hoa\Desktop\照片\woods1.jpg.gallery.jpg">
            <a:extLst>
              <a:ext uri="{FF2B5EF4-FFF2-40B4-BE49-F238E27FC236}">
                <a16:creationId xmlns:a16="http://schemas.microsoft.com/office/drawing/2014/main" id="{ED6EF8E1-F007-4F87-A5B4-1DEBE9B649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94030" y="3653943"/>
            <a:ext cx="861093" cy="1079569"/>
          </a:xfrm>
          <a:prstGeom prst="rect">
            <a:avLst/>
          </a:prstGeom>
          <a:ln w="317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8" descr="C:\Users\hoa\Desktop\照片\480_405TritonXL-1000-Cryogen-free-dilution-refrigerator.jpg">
            <a:extLst>
              <a:ext uri="{FF2B5EF4-FFF2-40B4-BE49-F238E27FC236}">
                <a16:creationId xmlns:a16="http://schemas.microsoft.com/office/drawing/2014/main" id="{C60E16F0-D66A-4E65-8EF1-624F92AAF6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92769" y="3662862"/>
            <a:ext cx="721314" cy="1079569"/>
          </a:xfrm>
          <a:prstGeom prst="rect">
            <a:avLst/>
          </a:prstGeom>
          <a:ln w="317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9" descr="C:\Users\hoa\Desktop\照片\34591-10510774.jpg">
            <a:extLst>
              <a:ext uri="{FF2B5EF4-FFF2-40B4-BE49-F238E27FC236}">
                <a16:creationId xmlns:a16="http://schemas.microsoft.com/office/drawing/2014/main" id="{80302A22-3A58-4FD5-836E-509A79E078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214411" y="3630720"/>
            <a:ext cx="899302" cy="703709"/>
          </a:xfrm>
          <a:prstGeom prst="rect">
            <a:avLst/>
          </a:prstGeom>
          <a:ln w="3175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 descr="D:\100-Darwin_Cobra_LR[1].png">
            <a:extLst>
              <a:ext uri="{FF2B5EF4-FFF2-40B4-BE49-F238E27FC236}">
                <a16:creationId xmlns:a16="http://schemas.microsoft.com/office/drawing/2014/main" id="{4D85DACD-CC59-40ED-8F9F-43007E0AAE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59657" y="3688943"/>
            <a:ext cx="789706" cy="1072685"/>
          </a:xfrm>
          <a:prstGeom prst="rect">
            <a:avLst/>
          </a:prstGeom>
          <a:ln w="3175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MRI plaque">
            <a:extLst>
              <a:ext uri="{FF2B5EF4-FFF2-40B4-BE49-F238E27FC236}">
                <a16:creationId xmlns:a16="http://schemas.microsoft.com/office/drawing/2014/main" id="{486A0D4A-D807-4E50-9D96-476532FB4D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7525" y="3649689"/>
            <a:ext cx="1079568" cy="1079568"/>
          </a:xfrm>
          <a:prstGeom prst="rect">
            <a:avLst/>
          </a:prstGeom>
          <a:ln w="317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7" descr="C:\Users\hoa\Desktop\照片\37682-6615415.jpg">
            <a:extLst>
              <a:ext uri="{FF2B5EF4-FFF2-40B4-BE49-F238E27FC236}">
                <a16:creationId xmlns:a16="http://schemas.microsoft.com/office/drawing/2014/main" id="{00CAAD31-A35F-4FD5-B88F-B55915134B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75520" y="4323686"/>
            <a:ext cx="984779" cy="414942"/>
          </a:xfrm>
          <a:prstGeom prst="rect">
            <a:avLst/>
          </a:prstGeom>
          <a:ln w="317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77F9A6FD-3FFE-4861-A4C9-B464D77BCD03}"/>
              </a:ext>
            </a:extLst>
          </p:cNvPr>
          <p:cNvSpPr/>
          <p:nvPr/>
        </p:nvSpPr>
        <p:spPr>
          <a:xfrm>
            <a:off x="10218022" y="3653720"/>
            <a:ext cx="1550408" cy="1084908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entury Gothic" panose="020B0502020202020204" pitchFamily="34" charset="0"/>
            </a:endParaRPr>
          </a:p>
        </p:txBody>
      </p:sp>
      <p:pic>
        <p:nvPicPr>
          <p:cNvPr id="31" name="Picture 11" descr="C:\Users\hoa\Desktop\照片\InfinityBase.png">
            <a:extLst>
              <a:ext uri="{FF2B5EF4-FFF2-40B4-BE49-F238E27FC236}">
                <a16:creationId xmlns:a16="http://schemas.microsoft.com/office/drawing/2014/main" id="{DDC60228-4FE6-4A56-B90F-FE2335353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2247" y="4137196"/>
            <a:ext cx="791109" cy="703710"/>
          </a:xfrm>
          <a:prstGeom prst="rect">
            <a:avLst/>
          </a:prstGeom>
          <a:ln w="3175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itle 1">
            <a:extLst>
              <a:ext uri="{FF2B5EF4-FFF2-40B4-BE49-F238E27FC236}">
                <a16:creationId xmlns:a16="http://schemas.microsoft.com/office/drawing/2014/main" id="{6534F6CB-A531-4BB1-958F-901B087C174A}"/>
              </a:ext>
            </a:extLst>
          </p:cNvPr>
          <p:cNvSpPr txBox="1">
            <a:spLocks/>
          </p:cNvSpPr>
          <p:nvPr userDrawn="1"/>
        </p:nvSpPr>
        <p:spPr>
          <a:xfrm>
            <a:off x="330628" y="255373"/>
            <a:ext cx="9407261" cy="7725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1" kern="1200">
                <a:solidFill>
                  <a:srgbClr val="1C2674"/>
                </a:solidFill>
                <a:latin typeface="Oxford Raleway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latin typeface="Century Gothic" panose="020B0502020202020204" pitchFamily="34" charset="0"/>
              </a:rPr>
              <a:t>Our History</a:t>
            </a:r>
            <a:endParaRPr lang="en-GB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8871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wide Pres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70">
            <a:extLst>
              <a:ext uri="{FF2B5EF4-FFF2-40B4-BE49-F238E27FC236}">
                <a16:creationId xmlns:a16="http://schemas.microsoft.com/office/drawing/2014/main" id="{C915D644-3129-4C6F-B0DF-B706022ACA57}"/>
              </a:ext>
            </a:extLst>
          </p:cNvPr>
          <p:cNvGrpSpPr/>
          <p:nvPr userDrawn="1"/>
        </p:nvGrpSpPr>
        <p:grpSpPr>
          <a:xfrm>
            <a:off x="3381555" y="1123952"/>
            <a:ext cx="8810445" cy="4888660"/>
            <a:chOff x="5271432" y="1189963"/>
            <a:chExt cx="6589940" cy="3646836"/>
          </a:xfrm>
        </p:grpSpPr>
        <p:pic>
          <p:nvPicPr>
            <p:cNvPr id="72" name="Picture 2" descr="Image result for vector world map">
              <a:extLst>
                <a:ext uri="{FF2B5EF4-FFF2-40B4-BE49-F238E27FC236}">
                  <a16:creationId xmlns:a16="http://schemas.microsoft.com/office/drawing/2014/main" id="{B7193432-EB00-4F49-84F1-EB7B543932D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51"/>
            <a:stretch/>
          </p:blipFill>
          <p:spPr bwMode="auto">
            <a:xfrm>
              <a:off x="5271432" y="1189963"/>
              <a:ext cx="6589940" cy="36468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005AACAB-6DFE-4029-97CB-AA554F64EBEC}"/>
                </a:ext>
              </a:extLst>
            </p:cNvPr>
            <p:cNvSpPr/>
            <p:nvPr userDrawn="1"/>
          </p:nvSpPr>
          <p:spPr>
            <a:xfrm>
              <a:off x="6130690" y="2675237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621E638C-0208-49A0-8AFB-4AA718EB4E19}"/>
                </a:ext>
              </a:extLst>
            </p:cNvPr>
            <p:cNvSpPr/>
            <p:nvPr userDrawn="1"/>
          </p:nvSpPr>
          <p:spPr>
            <a:xfrm>
              <a:off x="7053643" y="2552439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EDD94E4E-F0F9-4E85-A86C-419FC98240F7}"/>
                </a:ext>
              </a:extLst>
            </p:cNvPr>
            <p:cNvSpPr/>
            <p:nvPr userDrawn="1"/>
          </p:nvSpPr>
          <p:spPr>
            <a:xfrm>
              <a:off x="6209440" y="2751569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3C67764-4C17-4C53-B277-A95139559F72}"/>
                </a:ext>
              </a:extLst>
            </p:cNvPr>
            <p:cNvSpPr/>
            <p:nvPr userDrawn="1"/>
          </p:nvSpPr>
          <p:spPr>
            <a:xfrm>
              <a:off x="8199046" y="2319012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BCE34321-E335-42E1-A5E6-64DB8FC8C71F}"/>
                </a:ext>
              </a:extLst>
            </p:cNvPr>
            <p:cNvSpPr/>
            <p:nvPr userDrawn="1"/>
          </p:nvSpPr>
          <p:spPr>
            <a:xfrm>
              <a:off x="8320906" y="2433085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75232708-4582-4B5C-8506-A58234142B47}"/>
                </a:ext>
              </a:extLst>
            </p:cNvPr>
            <p:cNvSpPr/>
            <p:nvPr userDrawn="1"/>
          </p:nvSpPr>
          <p:spPr>
            <a:xfrm>
              <a:off x="8443738" y="2402377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51036EBE-B14D-4C6D-8A54-D1D92068F5C1}"/>
                </a:ext>
              </a:extLst>
            </p:cNvPr>
            <p:cNvSpPr/>
            <p:nvPr userDrawn="1"/>
          </p:nvSpPr>
          <p:spPr>
            <a:xfrm>
              <a:off x="9595262" y="3061273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9ED01B53-AEA6-4B57-ABB7-B5B4EECC61C6}"/>
                </a:ext>
              </a:extLst>
            </p:cNvPr>
            <p:cNvSpPr/>
            <p:nvPr userDrawn="1"/>
          </p:nvSpPr>
          <p:spPr>
            <a:xfrm>
              <a:off x="10846246" y="2689596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0864F46F-E055-4586-B9B7-593B289F21C3}"/>
                </a:ext>
              </a:extLst>
            </p:cNvPr>
            <p:cNvSpPr/>
            <p:nvPr userDrawn="1"/>
          </p:nvSpPr>
          <p:spPr>
            <a:xfrm>
              <a:off x="6095037" y="2590847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742193EC-5FD6-436D-B33D-DEB07EDE2AD4}"/>
                </a:ext>
              </a:extLst>
            </p:cNvPr>
            <p:cNvSpPr/>
            <p:nvPr userDrawn="1"/>
          </p:nvSpPr>
          <p:spPr>
            <a:xfrm>
              <a:off x="10031679" y="2768066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B57B12E9-FA1D-4721-85BA-2D6AAD509FA0}"/>
                </a:ext>
              </a:extLst>
            </p:cNvPr>
            <p:cNvSpPr/>
            <p:nvPr userDrawn="1"/>
          </p:nvSpPr>
          <p:spPr>
            <a:xfrm>
              <a:off x="10400494" y="2537155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E009C8A-7996-45EE-A493-31B88C3A4E78}"/>
                </a:ext>
              </a:extLst>
            </p:cNvPr>
            <p:cNvSpPr/>
            <p:nvPr userDrawn="1"/>
          </p:nvSpPr>
          <p:spPr>
            <a:xfrm>
              <a:off x="10154835" y="3376498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497EA852-D39A-481C-8D5C-C1368302BB32}"/>
                </a:ext>
              </a:extLst>
            </p:cNvPr>
            <p:cNvSpPr/>
            <p:nvPr userDrawn="1"/>
          </p:nvSpPr>
          <p:spPr>
            <a:xfrm>
              <a:off x="10257189" y="2936353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F5B2809F-5AEB-473D-AC54-A37A478D347B}"/>
                </a:ext>
              </a:extLst>
            </p:cNvPr>
            <p:cNvSpPr/>
            <p:nvPr userDrawn="1"/>
          </p:nvSpPr>
          <p:spPr>
            <a:xfrm>
              <a:off x="10420966" y="2762343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6B3090AC-0293-41BA-B299-EE5D7ABB7AAF}"/>
                </a:ext>
              </a:extLst>
            </p:cNvPr>
            <p:cNvSpPr/>
            <p:nvPr userDrawn="1"/>
          </p:nvSpPr>
          <p:spPr>
            <a:xfrm>
              <a:off x="9105256" y="2179268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23F59CF4-3EAD-4D1E-ACFA-65217E0277C0}"/>
                </a:ext>
              </a:extLst>
            </p:cNvPr>
            <p:cNvSpPr/>
            <p:nvPr userDrawn="1"/>
          </p:nvSpPr>
          <p:spPr>
            <a:xfrm>
              <a:off x="8651863" y="1883765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9A571926-5927-4B3B-9FF7-9ED88264DBA8}"/>
                </a:ext>
              </a:extLst>
            </p:cNvPr>
            <p:cNvSpPr/>
            <p:nvPr userDrawn="1"/>
          </p:nvSpPr>
          <p:spPr>
            <a:xfrm>
              <a:off x="8263137" y="2323162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8976E8BB-7D1F-475B-BA43-AF7ECD6D4FDE}"/>
                </a:ext>
              </a:extLst>
            </p:cNvPr>
            <p:cNvSpPr/>
            <p:nvPr userDrawn="1"/>
          </p:nvSpPr>
          <p:spPr>
            <a:xfrm>
              <a:off x="8581918" y="2284669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0E97D03F-69BB-458D-B3B3-0261819F998A}"/>
                </a:ext>
              </a:extLst>
            </p:cNvPr>
            <p:cNvSpPr/>
            <p:nvPr userDrawn="1"/>
          </p:nvSpPr>
          <p:spPr>
            <a:xfrm>
              <a:off x="8418145" y="2253959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2CD707EB-EC5F-4CD0-A760-418F3ABF3490}"/>
                </a:ext>
              </a:extLst>
            </p:cNvPr>
            <p:cNvSpPr/>
            <p:nvPr userDrawn="1"/>
          </p:nvSpPr>
          <p:spPr>
            <a:xfrm>
              <a:off x="8285080" y="2520097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356582D8-5D07-407C-8D71-818E2B3209CF}"/>
                </a:ext>
              </a:extLst>
            </p:cNvPr>
            <p:cNvSpPr/>
            <p:nvPr userDrawn="1"/>
          </p:nvSpPr>
          <p:spPr>
            <a:xfrm>
              <a:off x="8131546" y="2213017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064E72CC-E98A-4616-A412-C1E124448166}"/>
                </a:ext>
              </a:extLst>
            </p:cNvPr>
            <p:cNvSpPr/>
            <p:nvPr userDrawn="1"/>
          </p:nvSpPr>
          <p:spPr>
            <a:xfrm>
              <a:off x="8232796" y="2264782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C0419425-93BC-4411-AC2F-0F8FC2671F61}"/>
                </a:ext>
              </a:extLst>
            </p:cNvPr>
            <p:cNvSpPr/>
            <p:nvPr userDrawn="1"/>
          </p:nvSpPr>
          <p:spPr>
            <a:xfrm>
              <a:off x="8532442" y="2460386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DD909B9A-2C3B-4A30-9AB3-54A754D642B7}"/>
                </a:ext>
              </a:extLst>
            </p:cNvPr>
            <p:cNvSpPr/>
            <p:nvPr userDrawn="1"/>
          </p:nvSpPr>
          <p:spPr>
            <a:xfrm>
              <a:off x="6866077" y="2872266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AA8D274A-4BF8-4519-9AF5-7217B54544C1}"/>
                </a:ext>
              </a:extLst>
            </p:cNvPr>
            <p:cNvSpPr/>
            <p:nvPr userDrawn="1"/>
          </p:nvSpPr>
          <p:spPr>
            <a:xfrm>
              <a:off x="6899827" y="2291487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96DDD822-3827-43B7-BF30-4D09A93B9AE0}"/>
                </a:ext>
              </a:extLst>
            </p:cNvPr>
            <p:cNvSpPr/>
            <p:nvPr userDrawn="1"/>
          </p:nvSpPr>
          <p:spPr>
            <a:xfrm>
              <a:off x="10555738" y="2682163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476F9F61-4619-4104-9BA1-97421D52511A}"/>
                </a:ext>
              </a:extLst>
            </p:cNvPr>
            <p:cNvSpPr/>
            <p:nvPr userDrawn="1"/>
          </p:nvSpPr>
          <p:spPr>
            <a:xfrm>
              <a:off x="10484086" y="2979003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56A3832B-57E4-4632-8EB4-5DE9B3E92CCB}"/>
                </a:ext>
              </a:extLst>
            </p:cNvPr>
            <p:cNvSpPr/>
            <p:nvPr userDrawn="1"/>
          </p:nvSpPr>
          <p:spPr>
            <a:xfrm>
              <a:off x="10735358" y="2711774"/>
              <a:ext cx="67500" cy="675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AD016E3-27E4-4837-BC86-A5E92559DCB8}"/>
              </a:ext>
            </a:extLst>
          </p:cNvPr>
          <p:cNvSpPr/>
          <p:nvPr/>
        </p:nvSpPr>
        <p:spPr>
          <a:xfrm>
            <a:off x="4129238" y="4446872"/>
            <a:ext cx="7738711" cy="1465803"/>
          </a:xfrm>
          <a:prstGeom prst="rect">
            <a:avLst/>
          </a:prstGeom>
          <a:solidFill>
            <a:schemeClr val="bg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entury Gothic" panose="020B0502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969A99-9150-4854-8520-E351EAC5BF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A262135-EEF7-CC4C-8221-52A3972B9A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FBAD7AD-CF8D-4D86-AE2C-C16FAA942E87}"/>
              </a:ext>
            </a:extLst>
          </p:cNvPr>
          <p:cNvSpPr/>
          <p:nvPr/>
        </p:nvSpPr>
        <p:spPr>
          <a:xfrm>
            <a:off x="324050" y="1349135"/>
            <a:ext cx="3207191" cy="459356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000" b="1" dirty="0">
                <a:solidFill>
                  <a:srgbClr val="1C267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8 Offices Worldwid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70000"/>
              <a:buFont typeface="Oxford Raleway" pitchFamily="2" charset="0"/>
              <a:buChar char="•"/>
            </a:pPr>
            <a:r>
              <a:rPr lang="en-GB" altLang="zh-TW" sz="1800" dirty="0">
                <a:latin typeface="Century Gothic" panose="020B0502020202020204" pitchFamily="34" charset="0"/>
                <a:cs typeface="Arial" panose="020B0604020202020204" pitchFamily="34" charset="0"/>
              </a:rPr>
              <a:t>Offices in 18 countries, employing over</a:t>
            </a:r>
            <a:br>
              <a:rPr lang="en-GB" altLang="zh-TW" sz="1800" dirty="0"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en-GB" altLang="zh-TW" sz="1800" dirty="0">
                <a:latin typeface="Century Gothic" panose="020B0502020202020204" pitchFamily="34" charset="0"/>
                <a:cs typeface="Arial" panose="020B0604020202020204" pitchFamily="34" charset="0"/>
              </a:rPr>
              <a:t>1600 people worldwid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70000"/>
              <a:buFont typeface="Oxford Raleway" pitchFamily="2" charset="0"/>
              <a:buChar char="•"/>
            </a:pPr>
            <a:r>
              <a:rPr lang="en-GB" altLang="zh-TW" sz="1800" dirty="0">
                <a:latin typeface="Century Gothic" panose="020B0502020202020204" pitchFamily="34" charset="0"/>
                <a:cs typeface="Arial" panose="020B0604020202020204" pitchFamily="34" charset="0"/>
              </a:rPr>
              <a:t>R&amp;D, Manufacturing &amp; Direct Sales &amp; Marketing are based in Europe, North America and Asia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70000"/>
              <a:buFont typeface="Oxford Raleway" pitchFamily="2" charset="0"/>
              <a:buChar char="•"/>
            </a:pPr>
            <a:r>
              <a:rPr lang="en-GB" altLang="zh-TW" sz="1800" dirty="0">
                <a:latin typeface="Century Gothic" panose="020B0502020202020204" pitchFamily="34" charset="0"/>
                <a:cs typeface="Arial" panose="020B0604020202020204" pitchFamily="34" charset="0"/>
              </a:rPr>
              <a:t>Global distribution of technical centres with associated engineer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70000"/>
              <a:buFont typeface="Oxford Raleway" pitchFamily="2" charset="0"/>
              <a:buChar char="•"/>
            </a:pPr>
            <a:r>
              <a:rPr lang="en-GB" altLang="zh-TW" sz="1800" dirty="0">
                <a:latin typeface="Century Gothic" panose="020B0502020202020204" pitchFamily="34" charset="0"/>
                <a:cs typeface="Arial" panose="020B0604020202020204" pitchFamily="34" charset="0"/>
              </a:rPr>
              <a:t>24 hour service support with several support levels available</a:t>
            </a:r>
          </a:p>
        </p:txBody>
      </p:sp>
      <p:sp>
        <p:nvSpPr>
          <p:cNvPr id="61" name="TextBox 43">
            <a:extLst>
              <a:ext uri="{FF2B5EF4-FFF2-40B4-BE49-F238E27FC236}">
                <a16:creationId xmlns:a16="http://schemas.microsoft.com/office/drawing/2014/main" id="{5EEA65EA-2B38-4959-ADB9-77CC86D949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06240" y="4540161"/>
            <a:ext cx="7531642" cy="1372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 numCol="4" spcCol="108000">
            <a:noAutofit/>
          </a:bodyPr>
          <a:lstStyle/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Santa Barbara, USA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Raleway" panose="020B0503030101060003" pitchFamily="34" charset="0"/>
              <a:buChar char="–"/>
              <a:tabLst/>
              <a:defRPr/>
            </a:pPr>
            <a:r>
              <a:rPr lang="en-GB" altLang="en-US" sz="1000" b="0" cap="none" baseline="0" dirty="0" err="1">
                <a:solidFill>
                  <a:schemeClr val="accent2"/>
                </a:solidFill>
                <a:latin typeface="Century Gothic" panose="020B0502020202020204" pitchFamily="34" charset="0"/>
              </a:rPr>
              <a:t>Scotts</a:t>
            </a: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 Valley, USA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Vacaville, USA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Concord, USA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Florida, USA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 err="1">
                <a:solidFill>
                  <a:schemeClr val="accent2"/>
                </a:solidFill>
                <a:latin typeface="Century Gothic" panose="020B0502020202020204" pitchFamily="34" charset="0"/>
              </a:rPr>
              <a:t>Welland</a:t>
            </a: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, Canada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Prague, Czech Rep.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 err="1">
                <a:solidFill>
                  <a:schemeClr val="accent2"/>
                </a:solidFill>
                <a:latin typeface="Century Gothic" panose="020B0502020202020204" pitchFamily="34" charset="0"/>
              </a:rPr>
              <a:t>Gometz</a:t>
            </a: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 La Ville, France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Wiesbaden, Germany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Zurich, Switzerland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 err="1">
                <a:solidFill>
                  <a:schemeClr val="accent2"/>
                </a:solidFill>
                <a:latin typeface="Century Gothic" panose="020B0502020202020204" pitchFamily="34" charset="0"/>
              </a:rPr>
              <a:t>Johanneshov</a:t>
            </a: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, Sweden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Moscow, Russian Fed.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 err="1">
                <a:solidFill>
                  <a:schemeClr val="accent2"/>
                </a:solidFill>
                <a:latin typeface="Century Gothic" panose="020B0502020202020204" pitchFamily="34" charset="0"/>
              </a:rPr>
              <a:t>Tubney</a:t>
            </a: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 Woods, UK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Belfast, UK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High Wycombe, UK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Bristol, UK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Thane West, India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Beijing, China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Shanghai, China (2)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Guangzhou, China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Chengdu, China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Seoul, Korea (Rep. Of)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Singapore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Taiwan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Tokyo, Japan (2)</a:t>
            </a:r>
          </a:p>
          <a:p>
            <a:pPr marL="171450" indent="-171450" eaLnBrk="0" hangingPunct="0">
              <a:lnSpc>
                <a:spcPct val="100000"/>
              </a:lnSpc>
              <a:spcAft>
                <a:spcPts val="200"/>
              </a:spcAft>
              <a:buFont typeface="Raleway" panose="020B0503030101060003" pitchFamily="34" charset="0"/>
              <a:buChar char="–"/>
            </a:pPr>
            <a:r>
              <a:rPr lang="en-GB" altLang="en-US" sz="1000" b="0" cap="none" baseline="0" dirty="0">
                <a:solidFill>
                  <a:schemeClr val="accent2"/>
                </a:solidFill>
                <a:latin typeface="Century Gothic" panose="020B0502020202020204" pitchFamily="34" charset="0"/>
              </a:rPr>
              <a:t>Osaka, Japan</a:t>
            </a:r>
          </a:p>
        </p:txBody>
      </p:sp>
      <p:sp>
        <p:nvSpPr>
          <p:cNvPr id="101" name="Title 1">
            <a:extLst>
              <a:ext uri="{FF2B5EF4-FFF2-40B4-BE49-F238E27FC236}">
                <a16:creationId xmlns:a16="http://schemas.microsoft.com/office/drawing/2014/main" id="{00B6A7FE-D615-4432-9232-2D9C6EE31F2B}"/>
              </a:ext>
            </a:extLst>
          </p:cNvPr>
          <p:cNvSpPr txBox="1">
            <a:spLocks/>
          </p:cNvSpPr>
          <p:nvPr userDrawn="1"/>
        </p:nvSpPr>
        <p:spPr>
          <a:xfrm>
            <a:off x="330628" y="255373"/>
            <a:ext cx="9407261" cy="7725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1" kern="1200">
                <a:solidFill>
                  <a:srgbClr val="1C2674"/>
                </a:solidFill>
                <a:latin typeface="Oxford Raleway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latin typeface="Century Gothic" panose="020B0502020202020204" pitchFamily="34" charset="0"/>
              </a:rPr>
              <a:t>Worldwide Presence</a:t>
            </a:r>
            <a:endParaRPr lang="en-GB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6881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text intro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1FD749-81DF-4725-B646-230608E4FC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2640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9" imgH="330" progId="TCLayout.ActiveDocument.1">
                  <p:embed/>
                </p:oleObj>
              </mc:Choice>
              <mc:Fallback>
                <p:oleObj name="think-cell Folie" r:id="rId4" imgW="329" imgH="33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11FD749-81DF-4725-B646-230608E4FC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C1EDAC7-00FA-41D4-89CE-BF95EE2D03D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26401" y="1976846"/>
            <a:ext cx="11532447" cy="4275908"/>
          </a:xfrm>
          <a:prstGeom prst="rect">
            <a:avLst/>
          </a:prstGeom>
        </p:spPr>
        <p:txBody>
          <a:bodyPr/>
          <a:lstStyle>
            <a:lvl1pPr>
              <a:defRPr>
                <a:latin typeface="Century Gothic" panose="020B0502020202020204" pitchFamily="34" charset="0"/>
                <a:cs typeface="Helvetica" pitchFamily="34" charset="0"/>
              </a:defRPr>
            </a:lvl1pPr>
            <a:lvl2pPr>
              <a:defRPr sz="2200">
                <a:latin typeface="Century Gothic" panose="020B0502020202020204" pitchFamily="34" charset="0"/>
                <a:cs typeface="Helvetica" pitchFamily="34" charset="0"/>
              </a:defRPr>
            </a:lvl2pPr>
            <a:lvl3pPr>
              <a:defRPr>
                <a:latin typeface="Century Gothic" panose="020B0502020202020204" pitchFamily="34" charset="0"/>
                <a:cs typeface="Helvetica" pitchFamily="34" charset="0"/>
              </a:defRPr>
            </a:lvl3pPr>
            <a:lvl4pPr>
              <a:defRPr>
                <a:latin typeface="Century Gothic" panose="020B0502020202020204" pitchFamily="34" charset="0"/>
                <a:cs typeface="Helvetica" pitchFamily="34" charset="0"/>
              </a:defRPr>
            </a:lvl4pPr>
            <a:lvl5pPr>
              <a:defRPr>
                <a:latin typeface="Century Gothic" panose="020B0502020202020204" pitchFamily="34" charset="0"/>
                <a:cs typeface="Helvetica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25969" y="1263106"/>
            <a:ext cx="11517689" cy="635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 bwMode="white">
          <a:xfrm>
            <a:off x="326401" y="127001"/>
            <a:ext cx="9260196" cy="753532"/>
          </a:xfrm>
          <a:prstGeom prst="rect">
            <a:avLst/>
          </a:prstGeom>
        </p:spPr>
        <p:txBody>
          <a:bodyPr anchor="ctr" anchorCtr="0"/>
          <a:lstStyle>
            <a:lvl1pPr>
              <a:defRPr sz="3200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7597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miconductor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13929A4-3190-4984-A3CD-A602D45497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075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9" imgH="330" progId="TCLayout.ActiveDocument.1">
                  <p:embed/>
                </p:oleObj>
              </mc:Choice>
              <mc:Fallback>
                <p:oleObj name="think-cell Folie" r:id="rId4" imgW="329" imgH="33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13929A4-3190-4984-A3CD-A602D4549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EFDC0D7-5541-4E3C-AD56-3849978C7DD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3949A2C-5D0F-4C27-94CF-CB6711D76B98}"/>
              </a:ext>
            </a:extLst>
          </p:cNvPr>
          <p:cNvSpPr/>
          <p:nvPr userDrawn="1"/>
        </p:nvSpPr>
        <p:spPr>
          <a:xfrm>
            <a:off x="0" y="1021490"/>
            <a:ext cx="12192000" cy="5836510"/>
          </a:xfrm>
          <a:prstGeom prst="rect">
            <a:avLst/>
          </a:prstGeom>
          <a:solidFill>
            <a:srgbClr val="1C26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entury Gothic" panose="020B0502020202020204" pitchFamily="34" charset="0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FD993482-BA34-4AFE-80DC-577244CDB81F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2032000" y="719138"/>
          <a:ext cx="812800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6" imgW="0" imgH="0" progId="Paint.Picture">
                  <p:embed/>
                </p:oleObj>
              </mc:Choice>
              <mc:Fallback>
                <p:oleObj name="Bitmap Image" r:id="rId6" imgW="0" imgH="0" progId="Paint.Picture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FD993482-BA34-4AFE-80DC-577244CDB81F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138"/>
                        <a:ext cx="812800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8072133B-4BBA-43F0-8594-0DF78965A31E}"/>
              </a:ext>
            </a:extLst>
          </p:cNvPr>
          <p:cNvSpPr/>
          <p:nvPr userDrawn="1"/>
        </p:nvSpPr>
        <p:spPr>
          <a:xfrm>
            <a:off x="942682" y="1202916"/>
            <a:ext cx="5083999" cy="47982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entury Gothic" panose="020B0502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891623-7C0D-4386-8328-09E173CCCF2D}"/>
              </a:ext>
            </a:extLst>
          </p:cNvPr>
          <p:cNvSpPr/>
          <p:nvPr userDrawn="1"/>
        </p:nvSpPr>
        <p:spPr>
          <a:xfrm>
            <a:off x="942682" y="1202916"/>
            <a:ext cx="160256" cy="47982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entury Gothic" panose="020B0502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D4A981E-4FF6-4165-A899-47D537F511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5977" y="1245143"/>
            <a:ext cx="4715201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800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0C9AA88D-ED41-4E65-8F4B-595D543E0D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5815" y="3724818"/>
            <a:ext cx="4715363" cy="151486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2400">
                <a:solidFill>
                  <a:srgbClr val="1C267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222D9A3-96FC-44F5-A7DC-CEC333BCA9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6250" y="5664708"/>
            <a:ext cx="4714929" cy="233098"/>
          </a:xfrm>
        </p:spPr>
        <p:txBody>
          <a:bodyPr anchor="t"/>
          <a:lstStyle>
            <a:lvl1pPr marL="0" indent="0" algn="ctr">
              <a:buNone/>
              <a:defRPr sz="11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A8938B4-1A06-4D27-B2D0-6F8D18A4B35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0019" y="246497"/>
            <a:ext cx="1878888" cy="646874"/>
          </a:xfrm>
          <a:prstGeom prst="rect">
            <a:avLst/>
          </a:prstGeom>
        </p:spPr>
      </p:pic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5B2D23ED-C3AA-46B6-97A5-6D5CAD0ACD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85816" y="5365732"/>
            <a:ext cx="4714930" cy="233098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400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27915964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65EB357-7EFB-4C47-84FA-C32EC439E7A8}"/>
              </a:ext>
            </a:extLst>
          </p:cNvPr>
          <p:cNvSpPr/>
          <p:nvPr/>
        </p:nvSpPr>
        <p:spPr>
          <a:xfrm>
            <a:off x="0" y="893371"/>
            <a:ext cx="12192000" cy="3023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8E0165-1244-4244-8CEF-C0D16D0E7945}"/>
              </a:ext>
            </a:extLst>
          </p:cNvPr>
          <p:cNvSpPr/>
          <p:nvPr/>
        </p:nvSpPr>
        <p:spPr>
          <a:xfrm>
            <a:off x="0" y="1021490"/>
            <a:ext cx="12192000" cy="58365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Oxford Raleway" pitchFamily="2" charset="0"/>
            </a:endParaRP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82D6C5-1211-49C1-B40A-F4716395FD5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1" r="24525" b="14953"/>
          <a:stretch/>
        </p:blipFill>
        <p:spPr>
          <a:xfrm>
            <a:off x="3606325" y="1021489"/>
            <a:ext cx="8585675" cy="5836511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FD993482-BA34-4AFE-80DC-577244CDB81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94658815"/>
              </p:ext>
            </p:extLst>
          </p:nvPr>
        </p:nvGraphicFramePr>
        <p:xfrm>
          <a:off x="2032000" y="719138"/>
          <a:ext cx="812800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3" imgW="0" imgH="0" progId="Paint.Picture">
                  <p:embed/>
                </p:oleObj>
              </mc:Choice>
              <mc:Fallback>
                <p:oleObj name="Bitmap Image" r:id="rId3" imgW="0" imgH="0" progId="Paint.Picture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FD993482-BA34-4AFE-80DC-577244CDB81F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138"/>
                        <a:ext cx="812800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2054F232-A1CD-4083-ACAA-3F567187E5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7645" y="2414378"/>
            <a:ext cx="11493726" cy="1655762"/>
          </a:xfrm>
          <a:prstGeom prst="rect">
            <a:avLst/>
          </a:prstGeo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  <a:latin typeface="Oxford Raleway" pitchFamily="2" charset="0"/>
              </a:defRPr>
            </a:lvl1pPr>
          </a:lstStyle>
          <a:p>
            <a:r>
              <a:rPr lang="en-US"/>
              <a:t>Click to edit Divider title sty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A76A3CA7-8713-4DED-BCF8-441A9F5982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7645" y="4162215"/>
            <a:ext cx="11493726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Oxford Raleway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CB05757C-1BDD-4A43-BA64-D4251A530FD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5893222"/>
              </p:ext>
            </p:extLst>
          </p:nvPr>
        </p:nvGraphicFramePr>
        <p:xfrm>
          <a:off x="2032000" y="719138"/>
          <a:ext cx="812800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4" imgW="0" imgH="0" progId="Paint.Picture">
                  <p:embed/>
                </p:oleObj>
              </mc:Choice>
              <mc:Fallback>
                <p:oleObj name="Bitmap Image" r:id="rId4" imgW="0" imgH="0" progId="Paint.Picture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CB05757C-1BDD-4A43-BA64-D4251A530FDE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138"/>
                        <a:ext cx="812800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758D8287-17B2-46AA-992C-EEBB01B56F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00019" y="246497"/>
            <a:ext cx="1878888" cy="646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8956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/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/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/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/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0D376F-65F1-4B10-BB6F-F827DC4B03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628" y="1162441"/>
            <a:ext cx="11530744" cy="5204176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Font typeface="+mj-lt"/>
              <a:buAutoNum type="arabicPeriod"/>
              <a:defRPr>
                <a:latin typeface="Century Gothic" panose="020B0502020202020204" pitchFamily="34" charset="0"/>
              </a:defRPr>
            </a:lvl1pPr>
            <a:lvl2pPr marL="914400" indent="-457200">
              <a:buClr>
                <a:srgbClr val="1C2674"/>
              </a:buClr>
              <a:buFont typeface="+mj-lt"/>
              <a:buAutoNum type="arabicPeriod"/>
              <a:defRPr>
                <a:solidFill>
                  <a:schemeClr val="accent2"/>
                </a:solidFill>
                <a:latin typeface="Century Gothic" panose="020B0502020202020204" pitchFamily="34" charset="0"/>
              </a:defRPr>
            </a:lvl2pPr>
            <a:lvl3pPr marL="1257300" indent="-342900">
              <a:buClr>
                <a:srgbClr val="B5B9D3"/>
              </a:buClr>
              <a:buFont typeface="+mj-lt"/>
              <a:buAutoNum type="arabicPeriod"/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3pPr>
            <a:lvl4pPr marL="1714500" indent="-342900">
              <a:buClr>
                <a:schemeClr val="bg1">
                  <a:lumMod val="50000"/>
                </a:schemeClr>
              </a:buClr>
              <a:buFont typeface="+mj-lt"/>
              <a:buAutoNum type="arabicPeriod"/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4pPr>
            <a:lvl5pPr marL="2171700" indent="-342900">
              <a:buClr>
                <a:schemeClr val="bg1">
                  <a:lumMod val="65000"/>
                </a:schemeClr>
              </a:buClr>
              <a:buFont typeface="+mj-lt"/>
              <a:buAutoNum type="arabicPeriod"/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B185F-F0AD-437D-84CF-B28102722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0E7FDF0-C300-4D37-A7C0-435B3FE25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628" y="255373"/>
            <a:ext cx="9407261" cy="7725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lnSpc>
                <a:spcPct val="80000"/>
              </a:lnSpc>
              <a:defRPr sz="3200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4955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0D376F-65F1-4B10-BB6F-F827DC4B03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628" y="1162441"/>
            <a:ext cx="11530744" cy="5187084"/>
          </a:xfrm>
          <a:prstGeom prst="rect">
            <a:avLst/>
          </a:prstGeom>
        </p:spPr>
        <p:txBody>
          <a:bodyPr/>
          <a:lstStyle>
            <a:lvl1pPr marL="271463" indent="-271463">
              <a:spcAft>
                <a:spcPts val="300"/>
              </a:spcAft>
              <a:buClr>
                <a:schemeClr val="accent1"/>
              </a:buClr>
              <a:buSzPct val="70000"/>
              <a:buFont typeface="Oxford Raleway" pitchFamily="2" charset="0"/>
              <a:buChar char="•"/>
              <a:defRPr>
                <a:solidFill>
                  <a:srgbClr val="000000"/>
                </a:solidFill>
                <a:latin typeface="Century Gothic" panose="020B0502020202020204" pitchFamily="34" charset="0"/>
              </a:defRPr>
            </a:lvl1pPr>
            <a:lvl2pPr marL="685800" indent="-228600">
              <a:spcAft>
                <a:spcPts val="300"/>
              </a:spcAft>
              <a:buClr>
                <a:schemeClr val="accent2"/>
              </a:buClr>
              <a:buSzPct val="70000"/>
              <a:buFont typeface="Oxford Raleway" pitchFamily="2" charset="0"/>
              <a:buChar char="•"/>
              <a:defRPr>
                <a:solidFill>
                  <a:schemeClr val="accent2"/>
                </a:solidFill>
                <a:latin typeface="Century Gothic" panose="020B0502020202020204" pitchFamily="34" charset="0"/>
              </a:defRPr>
            </a:lvl2pPr>
            <a:lvl3pPr marL="1143000" indent="-228600">
              <a:spcAft>
                <a:spcPts val="300"/>
              </a:spcAft>
              <a:buClr>
                <a:schemeClr val="accent6"/>
              </a:buClr>
              <a:buSzPct val="70000"/>
              <a:buFont typeface="Oxford Raleway" pitchFamily="2" charset="0"/>
              <a:buChar char="•"/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3pPr>
            <a:lvl4pPr>
              <a:spcAft>
                <a:spcPts val="300"/>
              </a:spcAft>
              <a:buClr>
                <a:schemeClr val="bg2"/>
              </a:buClr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4pPr>
            <a:lvl5pPr>
              <a:spcAft>
                <a:spcPts val="300"/>
              </a:spcAft>
              <a:buClr>
                <a:schemeClr val="bg2"/>
              </a:buCl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B185F-F0AD-437D-84CF-B28102722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8B75BC0-2444-4E2C-822E-5C7BF7E50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628" y="255373"/>
            <a:ext cx="9407261" cy="7725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lnSpc>
                <a:spcPct val="80000"/>
              </a:lnSpc>
              <a:defRPr sz="3200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83726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3B04E5-6430-4C38-A945-3085DEE4E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628" y="255373"/>
            <a:ext cx="9407261" cy="7725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lnSpc>
                <a:spcPct val="80000"/>
              </a:lnSpc>
              <a:defRPr sz="3200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B185F-F0AD-437D-84CF-B28102722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34D6F5D-0D15-4527-A77A-DE35A42A0C6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0628" y="1102936"/>
            <a:ext cx="11530744" cy="470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1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subheader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3F24FCC-3B9A-4771-BCD1-AB37126B57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628" y="1820561"/>
            <a:ext cx="11530744" cy="4356401"/>
          </a:xfrm>
          <a:prstGeom prst="rect">
            <a:avLst/>
          </a:prstGeom>
        </p:spPr>
        <p:txBody>
          <a:bodyPr/>
          <a:lstStyle>
            <a:lvl1pPr marL="271463" indent="-271463">
              <a:spcAft>
                <a:spcPts val="300"/>
              </a:spcAft>
              <a:buClr>
                <a:schemeClr val="accent1"/>
              </a:buClr>
              <a:buSzPct val="70000"/>
              <a:buFont typeface="Oxford Raleway" pitchFamily="2" charset="0"/>
              <a:buChar char="•"/>
              <a:defRPr>
                <a:solidFill>
                  <a:srgbClr val="000000"/>
                </a:solidFill>
                <a:latin typeface="Century Gothic" panose="020B0502020202020204" pitchFamily="34" charset="0"/>
              </a:defRPr>
            </a:lvl1pPr>
            <a:lvl2pPr marL="800100" indent="-342900">
              <a:spcAft>
                <a:spcPts val="300"/>
              </a:spcAft>
              <a:buClr>
                <a:srgbClr val="1C2674"/>
              </a:buClr>
              <a:buSzPct val="70000"/>
              <a:buFont typeface="Oxford Raleway" pitchFamily="2" charset="0"/>
              <a:buChar char="•"/>
              <a:defRPr>
                <a:solidFill>
                  <a:schemeClr val="accent2"/>
                </a:solidFill>
                <a:latin typeface="Century Gothic" panose="020B0502020202020204" pitchFamily="34" charset="0"/>
              </a:defRPr>
            </a:lvl2pPr>
            <a:lvl3pPr marL="1143000" indent="-228600">
              <a:spcAft>
                <a:spcPts val="300"/>
              </a:spcAft>
              <a:buClr>
                <a:srgbClr val="B5B9D3"/>
              </a:buClr>
              <a:buSzPct val="70000"/>
              <a:buFont typeface="Oxford Raleway" pitchFamily="2" charset="0"/>
              <a:buChar char="•"/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3pPr>
            <a:lvl4pPr>
              <a:spcAft>
                <a:spcPts val="300"/>
              </a:spcAft>
              <a:buClr>
                <a:srgbClr val="002060"/>
              </a:buClr>
              <a:defRPr>
                <a:solidFill>
                  <a:schemeClr val="bg2"/>
                </a:solidFill>
                <a:latin typeface="Century Gothic" panose="020B0502020202020204" pitchFamily="34" charset="0"/>
              </a:defRPr>
            </a:lvl4pPr>
            <a:lvl5pPr marL="2057400" indent="-228600">
              <a:spcAft>
                <a:spcPts val="300"/>
              </a:spcAft>
              <a:buClr>
                <a:srgbClr val="002060"/>
              </a:buClr>
              <a:buFont typeface="Oxford Raleway" pitchFamily="2" charset="0"/>
              <a:buChar char="·"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9074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ail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B185F-F0AD-437D-84CF-B28102722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1E461203-1B79-429B-9CF7-AAF3C6A66B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8671" y="1915127"/>
            <a:ext cx="7906834" cy="365125"/>
          </a:xfrm>
          <a:custGeom>
            <a:avLst/>
            <a:gdLst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7297 w 11637357"/>
              <a:gd name="connsiteY12" fmla="*/ 0 h 504000"/>
              <a:gd name="connsiteX13" fmla="*/ 11637357 w 11637357"/>
              <a:gd name="connsiteY13" fmla="*/ 0 h 504000"/>
              <a:gd name="connsiteX14" fmla="*/ 11637357 w 11637357"/>
              <a:gd name="connsiteY14" fmla="*/ 504000 h 504000"/>
              <a:gd name="connsiteX15" fmla="*/ 97297 w 11637357"/>
              <a:gd name="connsiteY15" fmla="*/ 504000 h 504000"/>
              <a:gd name="connsiteX16" fmla="*/ 97297 w 11637357"/>
              <a:gd name="connsiteY16" fmla="*/ 432000 h 504000"/>
              <a:gd name="connsiteX17" fmla="*/ 277297 w 11637357"/>
              <a:gd name="connsiteY17" fmla="*/ 252000 h 504000"/>
              <a:gd name="connsiteX18" fmla="*/ 97297 w 11637357"/>
              <a:gd name="connsiteY18" fmla="*/ 72000 h 504000"/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3291 w 11637357"/>
              <a:gd name="connsiteY12" fmla="*/ 146174 h 504000"/>
              <a:gd name="connsiteX13" fmla="*/ 97297 w 11637357"/>
              <a:gd name="connsiteY13" fmla="*/ 0 h 504000"/>
              <a:gd name="connsiteX14" fmla="*/ 11637357 w 11637357"/>
              <a:gd name="connsiteY14" fmla="*/ 0 h 504000"/>
              <a:gd name="connsiteX15" fmla="*/ 10030106 w 11637357"/>
              <a:gd name="connsiteY15" fmla="*/ 504000 h 504000"/>
              <a:gd name="connsiteX16" fmla="*/ 97297 w 11637357"/>
              <a:gd name="connsiteY16" fmla="*/ 504000 h 504000"/>
              <a:gd name="connsiteX17" fmla="*/ 97297 w 11637357"/>
              <a:gd name="connsiteY17" fmla="*/ 432000 h 504000"/>
              <a:gd name="connsiteX18" fmla="*/ 277297 w 11637357"/>
              <a:gd name="connsiteY18" fmla="*/ 252000 h 504000"/>
              <a:gd name="connsiteX19" fmla="*/ 97297 w 11637357"/>
              <a:gd name="connsiteY19" fmla="*/ 72000 h 504000"/>
              <a:gd name="connsiteX20" fmla="*/ 97297 w 11637357"/>
              <a:gd name="connsiteY20" fmla="*/ 0 h 504000"/>
              <a:gd name="connsiteX0" fmla="*/ 93291 w 10030107"/>
              <a:gd name="connsiteY0" fmla="*/ 146174 h 504000"/>
              <a:gd name="connsiteX1" fmla="*/ 118361 w 10030107"/>
              <a:gd name="connsiteY1" fmla="*/ 146174 h 504000"/>
              <a:gd name="connsiteX2" fmla="*/ 118361 w 10030107"/>
              <a:gd name="connsiteY2" fmla="*/ 239465 h 504000"/>
              <a:gd name="connsiteX3" fmla="*/ 211652 w 10030107"/>
              <a:gd name="connsiteY3" fmla="*/ 239465 h 504000"/>
              <a:gd name="connsiteX4" fmla="*/ 211652 w 10030107"/>
              <a:gd name="connsiteY4" fmla="*/ 264535 h 504000"/>
              <a:gd name="connsiteX5" fmla="*/ 118361 w 10030107"/>
              <a:gd name="connsiteY5" fmla="*/ 264535 h 504000"/>
              <a:gd name="connsiteX6" fmla="*/ 118361 w 10030107"/>
              <a:gd name="connsiteY6" fmla="*/ 357826 h 504000"/>
              <a:gd name="connsiteX7" fmla="*/ 93291 w 10030107"/>
              <a:gd name="connsiteY7" fmla="*/ 357826 h 504000"/>
              <a:gd name="connsiteX8" fmla="*/ 93291 w 10030107"/>
              <a:gd name="connsiteY8" fmla="*/ 264535 h 504000"/>
              <a:gd name="connsiteX9" fmla="*/ 0 w 10030107"/>
              <a:gd name="connsiteY9" fmla="*/ 264535 h 504000"/>
              <a:gd name="connsiteX10" fmla="*/ 0 w 10030107"/>
              <a:gd name="connsiteY10" fmla="*/ 239465 h 504000"/>
              <a:gd name="connsiteX11" fmla="*/ 93291 w 10030107"/>
              <a:gd name="connsiteY11" fmla="*/ 239465 h 504000"/>
              <a:gd name="connsiteX12" fmla="*/ 93291 w 10030107"/>
              <a:gd name="connsiteY12" fmla="*/ 146174 h 504000"/>
              <a:gd name="connsiteX13" fmla="*/ 97297 w 10030107"/>
              <a:gd name="connsiteY13" fmla="*/ 0 h 504000"/>
              <a:gd name="connsiteX14" fmla="*/ 10030107 w 10030107"/>
              <a:gd name="connsiteY14" fmla="*/ 0 h 504000"/>
              <a:gd name="connsiteX15" fmla="*/ 10030106 w 10030107"/>
              <a:gd name="connsiteY15" fmla="*/ 504000 h 504000"/>
              <a:gd name="connsiteX16" fmla="*/ 97297 w 10030107"/>
              <a:gd name="connsiteY16" fmla="*/ 504000 h 504000"/>
              <a:gd name="connsiteX17" fmla="*/ 97297 w 10030107"/>
              <a:gd name="connsiteY17" fmla="*/ 432000 h 504000"/>
              <a:gd name="connsiteX18" fmla="*/ 277297 w 10030107"/>
              <a:gd name="connsiteY18" fmla="*/ 252000 h 504000"/>
              <a:gd name="connsiteX19" fmla="*/ 97297 w 10030107"/>
              <a:gd name="connsiteY19" fmla="*/ 72000 h 504000"/>
              <a:gd name="connsiteX20" fmla="*/ 97297 w 10030107"/>
              <a:gd name="connsiteY20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030107" h="504000">
                <a:moveTo>
                  <a:pt x="93291" y="146174"/>
                </a:moveTo>
                <a:lnTo>
                  <a:pt x="118361" y="146174"/>
                </a:lnTo>
                <a:lnTo>
                  <a:pt x="118361" y="239465"/>
                </a:lnTo>
                <a:lnTo>
                  <a:pt x="211652" y="239465"/>
                </a:lnTo>
                <a:lnTo>
                  <a:pt x="211652" y="264535"/>
                </a:lnTo>
                <a:lnTo>
                  <a:pt x="118361" y="264535"/>
                </a:lnTo>
                <a:lnTo>
                  <a:pt x="118361" y="357826"/>
                </a:lnTo>
                <a:lnTo>
                  <a:pt x="93291" y="357826"/>
                </a:lnTo>
                <a:lnTo>
                  <a:pt x="93291" y="264535"/>
                </a:lnTo>
                <a:lnTo>
                  <a:pt x="0" y="264535"/>
                </a:lnTo>
                <a:lnTo>
                  <a:pt x="0" y="239465"/>
                </a:lnTo>
                <a:lnTo>
                  <a:pt x="93291" y="239465"/>
                </a:lnTo>
                <a:lnTo>
                  <a:pt x="93291" y="146174"/>
                </a:lnTo>
                <a:close/>
                <a:moveTo>
                  <a:pt x="97297" y="0"/>
                </a:moveTo>
                <a:lnTo>
                  <a:pt x="10030107" y="0"/>
                </a:lnTo>
                <a:cubicBezTo>
                  <a:pt x="10030107" y="168000"/>
                  <a:pt x="10030106" y="336000"/>
                  <a:pt x="10030106" y="504000"/>
                </a:cubicBezTo>
                <a:lnTo>
                  <a:pt x="97297" y="504000"/>
                </a:lnTo>
                <a:lnTo>
                  <a:pt x="97297" y="432000"/>
                </a:lnTo>
                <a:cubicBezTo>
                  <a:pt x="196708" y="432000"/>
                  <a:pt x="277297" y="351411"/>
                  <a:pt x="277297" y="252000"/>
                </a:cubicBezTo>
                <a:cubicBezTo>
                  <a:pt x="277297" y="152589"/>
                  <a:pt x="196708" y="72000"/>
                  <a:pt x="97297" y="72000"/>
                </a:cubicBezTo>
                <a:lnTo>
                  <a:pt x="9729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none" lIns="540000" anchor="ctr">
            <a:noAutofit/>
          </a:bodyPr>
          <a:lstStyle>
            <a:lvl1pPr algn="l"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D66B20B4-618C-4FC5-9D03-2ABC9FD7202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0628" y="1120750"/>
            <a:ext cx="11530744" cy="4484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 header</a:t>
            </a:r>
            <a:endParaRPr lang="en-US" dirty="0"/>
          </a:p>
        </p:txBody>
      </p: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CD89A2A5-0426-45FF-BE61-26E6E8723276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8341052" y="1915128"/>
            <a:ext cx="3520320" cy="1434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Century Gothic" panose="020B0502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3" name="Picture Placeholder 2">
            <a:extLst>
              <a:ext uri="{FF2B5EF4-FFF2-40B4-BE49-F238E27FC236}">
                <a16:creationId xmlns:a16="http://schemas.microsoft.com/office/drawing/2014/main" id="{9079CBF1-1D5A-4FF3-9DD3-B56818A284F4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8341052" y="3527215"/>
            <a:ext cx="3520320" cy="1434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Century Gothic" panose="020B0502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FCBE03F-B78E-4428-96C8-C9F796EAC6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628" y="255373"/>
            <a:ext cx="9407261" cy="7725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lnSpc>
                <a:spcPct val="80000"/>
              </a:lnSpc>
              <a:defRPr sz="3200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05CF2CE8-F918-40AE-9F79-410CCABCDB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8671" y="2440479"/>
            <a:ext cx="7906834" cy="365125"/>
          </a:xfrm>
          <a:custGeom>
            <a:avLst/>
            <a:gdLst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7297 w 11637357"/>
              <a:gd name="connsiteY12" fmla="*/ 0 h 504000"/>
              <a:gd name="connsiteX13" fmla="*/ 11637357 w 11637357"/>
              <a:gd name="connsiteY13" fmla="*/ 0 h 504000"/>
              <a:gd name="connsiteX14" fmla="*/ 11637357 w 11637357"/>
              <a:gd name="connsiteY14" fmla="*/ 504000 h 504000"/>
              <a:gd name="connsiteX15" fmla="*/ 97297 w 11637357"/>
              <a:gd name="connsiteY15" fmla="*/ 504000 h 504000"/>
              <a:gd name="connsiteX16" fmla="*/ 97297 w 11637357"/>
              <a:gd name="connsiteY16" fmla="*/ 432000 h 504000"/>
              <a:gd name="connsiteX17" fmla="*/ 277297 w 11637357"/>
              <a:gd name="connsiteY17" fmla="*/ 252000 h 504000"/>
              <a:gd name="connsiteX18" fmla="*/ 97297 w 11637357"/>
              <a:gd name="connsiteY18" fmla="*/ 72000 h 504000"/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3291 w 11637357"/>
              <a:gd name="connsiteY12" fmla="*/ 146174 h 504000"/>
              <a:gd name="connsiteX13" fmla="*/ 97297 w 11637357"/>
              <a:gd name="connsiteY13" fmla="*/ 0 h 504000"/>
              <a:gd name="connsiteX14" fmla="*/ 11637357 w 11637357"/>
              <a:gd name="connsiteY14" fmla="*/ 0 h 504000"/>
              <a:gd name="connsiteX15" fmla="*/ 10030106 w 11637357"/>
              <a:gd name="connsiteY15" fmla="*/ 504000 h 504000"/>
              <a:gd name="connsiteX16" fmla="*/ 97297 w 11637357"/>
              <a:gd name="connsiteY16" fmla="*/ 504000 h 504000"/>
              <a:gd name="connsiteX17" fmla="*/ 97297 w 11637357"/>
              <a:gd name="connsiteY17" fmla="*/ 432000 h 504000"/>
              <a:gd name="connsiteX18" fmla="*/ 277297 w 11637357"/>
              <a:gd name="connsiteY18" fmla="*/ 252000 h 504000"/>
              <a:gd name="connsiteX19" fmla="*/ 97297 w 11637357"/>
              <a:gd name="connsiteY19" fmla="*/ 72000 h 504000"/>
              <a:gd name="connsiteX20" fmla="*/ 97297 w 11637357"/>
              <a:gd name="connsiteY20" fmla="*/ 0 h 504000"/>
              <a:gd name="connsiteX0" fmla="*/ 93291 w 10030107"/>
              <a:gd name="connsiteY0" fmla="*/ 146174 h 504000"/>
              <a:gd name="connsiteX1" fmla="*/ 118361 w 10030107"/>
              <a:gd name="connsiteY1" fmla="*/ 146174 h 504000"/>
              <a:gd name="connsiteX2" fmla="*/ 118361 w 10030107"/>
              <a:gd name="connsiteY2" fmla="*/ 239465 h 504000"/>
              <a:gd name="connsiteX3" fmla="*/ 211652 w 10030107"/>
              <a:gd name="connsiteY3" fmla="*/ 239465 h 504000"/>
              <a:gd name="connsiteX4" fmla="*/ 211652 w 10030107"/>
              <a:gd name="connsiteY4" fmla="*/ 264535 h 504000"/>
              <a:gd name="connsiteX5" fmla="*/ 118361 w 10030107"/>
              <a:gd name="connsiteY5" fmla="*/ 264535 h 504000"/>
              <a:gd name="connsiteX6" fmla="*/ 118361 w 10030107"/>
              <a:gd name="connsiteY6" fmla="*/ 357826 h 504000"/>
              <a:gd name="connsiteX7" fmla="*/ 93291 w 10030107"/>
              <a:gd name="connsiteY7" fmla="*/ 357826 h 504000"/>
              <a:gd name="connsiteX8" fmla="*/ 93291 w 10030107"/>
              <a:gd name="connsiteY8" fmla="*/ 264535 h 504000"/>
              <a:gd name="connsiteX9" fmla="*/ 0 w 10030107"/>
              <a:gd name="connsiteY9" fmla="*/ 264535 h 504000"/>
              <a:gd name="connsiteX10" fmla="*/ 0 w 10030107"/>
              <a:gd name="connsiteY10" fmla="*/ 239465 h 504000"/>
              <a:gd name="connsiteX11" fmla="*/ 93291 w 10030107"/>
              <a:gd name="connsiteY11" fmla="*/ 239465 h 504000"/>
              <a:gd name="connsiteX12" fmla="*/ 93291 w 10030107"/>
              <a:gd name="connsiteY12" fmla="*/ 146174 h 504000"/>
              <a:gd name="connsiteX13" fmla="*/ 97297 w 10030107"/>
              <a:gd name="connsiteY13" fmla="*/ 0 h 504000"/>
              <a:gd name="connsiteX14" fmla="*/ 10030107 w 10030107"/>
              <a:gd name="connsiteY14" fmla="*/ 0 h 504000"/>
              <a:gd name="connsiteX15" fmla="*/ 10030106 w 10030107"/>
              <a:gd name="connsiteY15" fmla="*/ 504000 h 504000"/>
              <a:gd name="connsiteX16" fmla="*/ 97297 w 10030107"/>
              <a:gd name="connsiteY16" fmla="*/ 504000 h 504000"/>
              <a:gd name="connsiteX17" fmla="*/ 97297 w 10030107"/>
              <a:gd name="connsiteY17" fmla="*/ 432000 h 504000"/>
              <a:gd name="connsiteX18" fmla="*/ 277297 w 10030107"/>
              <a:gd name="connsiteY18" fmla="*/ 252000 h 504000"/>
              <a:gd name="connsiteX19" fmla="*/ 97297 w 10030107"/>
              <a:gd name="connsiteY19" fmla="*/ 72000 h 504000"/>
              <a:gd name="connsiteX20" fmla="*/ 97297 w 10030107"/>
              <a:gd name="connsiteY20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030107" h="504000">
                <a:moveTo>
                  <a:pt x="93291" y="146174"/>
                </a:moveTo>
                <a:lnTo>
                  <a:pt x="118361" y="146174"/>
                </a:lnTo>
                <a:lnTo>
                  <a:pt x="118361" y="239465"/>
                </a:lnTo>
                <a:lnTo>
                  <a:pt x="211652" y="239465"/>
                </a:lnTo>
                <a:lnTo>
                  <a:pt x="211652" y="264535"/>
                </a:lnTo>
                <a:lnTo>
                  <a:pt x="118361" y="264535"/>
                </a:lnTo>
                <a:lnTo>
                  <a:pt x="118361" y="357826"/>
                </a:lnTo>
                <a:lnTo>
                  <a:pt x="93291" y="357826"/>
                </a:lnTo>
                <a:lnTo>
                  <a:pt x="93291" y="264535"/>
                </a:lnTo>
                <a:lnTo>
                  <a:pt x="0" y="264535"/>
                </a:lnTo>
                <a:lnTo>
                  <a:pt x="0" y="239465"/>
                </a:lnTo>
                <a:lnTo>
                  <a:pt x="93291" y="239465"/>
                </a:lnTo>
                <a:lnTo>
                  <a:pt x="93291" y="146174"/>
                </a:lnTo>
                <a:close/>
                <a:moveTo>
                  <a:pt x="97297" y="0"/>
                </a:moveTo>
                <a:lnTo>
                  <a:pt x="10030107" y="0"/>
                </a:lnTo>
                <a:cubicBezTo>
                  <a:pt x="10030107" y="168000"/>
                  <a:pt x="10030106" y="336000"/>
                  <a:pt x="10030106" y="504000"/>
                </a:cubicBezTo>
                <a:lnTo>
                  <a:pt x="97297" y="504000"/>
                </a:lnTo>
                <a:lnTo>
                  <a:pt x="97297" y="432000"/>
                </a:lnTo>
                <a:cubicBezTo>
                  <a:pt x="196708" y="432000"/>
                  <a:pt x="277297" y="351411"/>
                  <a:pt x="277297" y="252000"/>
                </a:cubicBezTo>
                <a:cubicBezTo>
                  <a:pt x="277297" y="152589"/>
                  <a:pt x="196708" y="72000"/>
                  <a:pt x="97297" y="72000"/>
                </a:cubicBezTo>
                <a:lnTo>
                  <a:pt x="9729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none" lIns="540000" anchor="ctr">
            <a:noAutofit/>
          </a:bodyPr>
          <a:lstStyle>
            <a:lvl1pPr algn="l"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C4981A-D1DD-405D-B157-91056CB9180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28671" y="2965831"/>
            <a:ext cx="7906834" cy="365125"/>
          </a:xfrm>
          <a:custGeom>
            <a:avLst/>
            <a:gdLst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7297 w 11637357"/>
              <a:gd name="connsiteY12" fmla="*/ 0 h 504000"/>
              <a:gd name="connsiteX13" fmla="*/ 11637357 w 11637357"/>
              <a:gd name="connsiteY13" fmla="*/ 0 h 504000"/>
              <a:gd name="connsiteX14" fmla="*/ 11637357 w 11637357"/>
              <a:gd name="connsiteY14" fmla="*/ 504000 h 504000"/>
              <a:gd name="connsiteX15" fmla="*/ 97297 w 11637357"/>
              <a:gd name="connsiteY15" fmla="*/ 504000 h 504000"/>
              <a:gd name="connsiteX16" fmla="*/ 97297 w 11637357"/>
              <a:gd name="connsiteY16" fmla="*/ 432000 h 504000"/>
              <a:gd name="connsiteX17" fmla="*/ 277297 w 11637357"/>
              <a:gd name="connsiteY17" fmla="*/ 252000 h 504000"/>
              <a:gd name="connsiteX18" fmla="*/ 97297 w 11637357"/>
              <a:gd name="connsiteY18" fmla="*/ 72000 h 504000"/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3291 w 11637357"/>
              <a:gd name="connsiteY12" fmla="*/ 146174 h 504000"/>
              <a:gd name="connsiteX13" fmla="*/ 97297 w 11637357"/>
              <a:gd name="connsiteY13" fmla="*/ 0 h 504000"/>
              <a:gd name="connsiteX14" fmla="*/ 11637357 w 11637357"/>
              <a:gd name="connsiteY14" fmla="*/ 0 h 504000"/>
              <a:gd name="connsiteX15" fmla="*/ 10030106 w 11637357"/>
              <a:gd name="connsiteY15" fmla="*/ 504000 h 504000"/>
              <a:gd name="connsiteX16" fmla="*/ 97297 w 11637357"/>
              <a:gd name="connsiteY16" fmla="*/ 504000 h 504000"/>
              <a:gd name="connsiteX17" fmla="*/ 97297 w 11637357"/>
              <a:gd name="connsiteY17" fmla="*/ 432000 h 504000"/>
              <a:gd name="connsiteX18" fmla="*/ 277297 w 11637357"/>
              <a:gd name="connsiteY18" fmla="*/ 252000 h 504000"/>
              <a:gd name="connsiteX19" fmla="*/ 97297 w 11637357"/>
              <a:gd name="connsiteY19" fmla="*/ 72000 h 504000"/>
              <a:gd name="connsiteX20" fmla="*/ 97297 w 11637357"/>
              <a:gd name="connsiteY20" fmla="*/ 0 h 504000"/>
              <a:gd name="connsiteX0" fmla="*/ 93291 w 10030107"/>
              <a:gd name="connsiteY0" fmla="*/ 146174 h 504000"/>
              <a:gd name="connsiteX1" fmla="*/ 118361 w 10030107"/>
              <a:gd name="connsiteY1" fmla="*/ 146174 h 504000"/>
              <a:gd name="connsiteX2" fmla="*/ 118361 w 10030107"/>
              <a:gd name="connsiteY2" fmla="*/ 239465 h 504000"/>
              <a:gd name="connsiteX3" fmla="*/ 211652 w 10030107"/>
              <a:gd name="connsiteY3" fmla="*/ 239465 h 504000"/>
              <a:gd name="connsiteX4" fmla="*/ 211652 w 10030107"/>
              <a:gd name="connsiteY4" fmla="*/ 264535 h 504000"/>
              <a:gd name="connsiteX5" fmla="*/ 118361 w 10030107"/>
              <a:gd name="connsiteY5" fmla="*/ 264535 h 504000"/>
              <a:gd name="connsiteX6" fmla="*/ 118361 w 10030107"/>
              <a:gd name="connsiteY6" fmla="*/ 357826 h 504000"/>
              <a:gd name="connsiteX7" fmla="*/ 93291 w 10030107"/>
              <a:gd name="connsiteY7" fmla="*/ 357826 h 504000"/>
              <a:gd name="connsiteX8" fmla="*/ 93291 w 10030107"/>
              <a:gd name="connsiteY8" fmla="*/ 264535 h 504000"/>
              <a:gd name="connsiteX9" fmla="*/ 0 w 10030107"/>
              <a:gd name="connsiteY9" fmla="*/ 264535 h 504000"/>
              <a:gd name="connsiteX10" fmla="*/ 0 w 10030107"/>
              <a:gd name="connsiteY10" fmla="*/ 239465 h 504000"/>
              <a:gd name="connsiteX11" fmla="*/ 93291 w 10030107"/>
              <a:gd name="connsiteY11" fmla="*/ 239465 h 504000"/>
              <a:gd name="connsiteX12" fmla="*/ 93291 w 10030107"/>
              <a:gd name="connsiteY12" fmla="*/ 146174 h 504000"/>
              <a:gd name="connsiteX13" fmla="*/ 97297 w 10030107"/>
              <a:gd name="connsiteY13" fmla="*/ 0 h 504000"/>
              <a:gd name="connsiteX14" fmla="*/ 10030107 w 10030107"/>
              <a:gd name="connsiteY14" fmla="*/ 0 h 504000"/>
              <a:gd name="connsiteX15" fmla="*/ 10030106 w 10030107"/>
              <a:gd name="connsiteY15" fmla="*/ 504000 h 504000"/>
              <a:gd name="connsiteX16" fmla="*/ 97297 w 10030107"/>
              <a:gd name="connsiteY16" fmla="*/ 504000 h 504000"/>
              <a:gd name="connsiteX17" fmla="*/ 97297 w 10030107"/>
              <a:gd name="connsiteY17" fmla="*/ 432000 h 504000"/>
              <a:gd name="connsiteX18" fmla="*/ 277297 w 10030107"/>
              <a:gd name="connsiteY18" fmla="*/ 252000 h 504000"/>
              <a:gd name="connsiteX19" fmla="*/ 97297 w 10030107"/>
              <a:gd name="connsiteY19" fmla="*/ 72000 h 504000"/>
              <a:gd name="connsiteX20" fmla="*/ 97297 w 10030107"/>
              <a:gd name="connsiteY20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030107" h="504000">
                <a:moveTo>
                  <a:pt x="93291" y="146174"/>
                </a:moveTo>
                <a:lnTo>
                  <a:pt x="118361" y="146174"/>
                </a:lnTo>
                <a:lnTo>
                  <a:pt x="118361" y="239465"/>
                </a:lnTo>
                <a:lnTo>
                  <a:pt x="211652" y="239465"/>
                </a:lnTo>
                <a:lnTo>
                  <a:pt x="211652" y="264535"/>
                </a:lnTo>
                <a:lnTo>
                  <a:pt x="118361" y="264535"/>
                </a:lnTo>
                <a:lnTo>
                  <a:pt x="118361" y="357826"/>
                </a:lnTo>
                <a:lnTo>
                  <a:pt x="93291" y="357826"/>
                </a:lnTo>
                <a:lnTo>
                  <a:pt x="93291" y="264535"/>
                </a:lnTo>
                <a:lnTo>
                  <a:pt x="0" y="264535"/>
                </a:lnTo>
                <a:lnTo>
                  <a:pt x="0" y="239465"/>
                </a:lnTo>
                <a:lnTo>
                  <a:pt x="93291" y="239465"/>
                </a:lnTo>
                <a:lnTo>
                  <a:pt x="93291" y="146174"/>
                </a:lnTo>
                <a:close/>
                <a:moveTo>
                  <a:pt x="97297" y="0"/>
                </a:moveTo>
                <a:lnTo>
                  <a:pt x="10030107" y="0"/>
                </a:lnTo>
                <a:cubicBezTo>
                  <a:pt x="10030107" y="168000"/>
                  <a:pt x="10030106" y="336000"/>
                  <a:pt x="10030106" y="504000"/>
                </a:cubicBezTo>
                <a:lnTo>
                  <a:pt x="97297" y="504000"/>
                </a:lnTo>
                <a:lnTo>
                  <a:pt x="97297" y="432000"/>
                </a:lnTo>
                <a:cubicBezTo>
                  <a:pt x="196708" y="432000"/>
                  <a:pt x="277297" y="351411"/>
                  <a:pt x="277297" y="252000"/>
                </a:cubicBezTo>
                <a:cubicBezTo>
                  <a:pt x="277297" y="152589"/>
                  <a:pt x="196708" y="72000"/>
                  <a:pt x="97297" y="72000"/>
                </a:cubicBezTo>
                <a:lnTo>
                  <a:pt x="9729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none" lIns="540000" anchor="ctr">
            <a:noAutofit/>
          </a:bodyPr>
          <a:lstStyle>
            <a:lvl1pPr algn="l"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C068E6E9-0F80-4C46-B33B-D3FF4E6CC47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8671" y="3491183"/>
            <a:ext cx="7906834" cy="365125"/>
          </a:xfrm>
          <a:custGeom>
            <a:avLst/>
            <a:gdLst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7297 w 11637357"/>
              <a:gd name="connsiteY12" fmla="*/ 0 h 504000"/>
              <a:gd name="connsiteX13" fmla="*/ 11637357 w 11637357"/>
              <a:gd name="connsiteY13" fmla="*/ 0 h 504000"/>
              <a:gd name="connsiteX14" fmla="*/ 11637357 w 11637357"/>
              <a:gd name="connsiteY14" fmla="*/ 504000 h 504000"/>
              <a:gd name="connsiteX15" fmla="*/ 97297 w 11637357"/>
              <a:gd name="connsiteY15" fmla="*/ 504000 h 504000"/>
              <a:gd name="connsiteX16" fmla="*/ 97297 w 11637357"/>
              <a:gd name="connsiteY16" fmla="*/ 432000 h 504000"/>
              <a:gd name="connsiteX17" fmla="*/ 277297 w 11637357"/>
              <a:gd name="connsiteY17" fmla="*/ 252000 h 504000"/>
              <a:gd name="connsiteX18" fmla="*/ 97297 w 11637357"/>
              <a:gd name="connsiteY18" fmla="*/ 72000 h 504000"/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3291 w 11637357"/>
              <a:gd name="connsiteY12" fmla="*/ 146174 h 504000"/>
              <a:gd name="connsiteX13" fmla="*/ 97297 w 11637357"/>
              <a:gd name="connsiteY13" fmla="*/ 0 h 504000"/>
              <a:gd name="connsiteX14" fmla="*/ 11637357 w 11637357"/>
              <a:gd name="connsiteY14" fmla="*/ 0 h 504000"/>
              <a:gd name="connsiteX15" fmla="*/ 10030106 w 11637357"/>
              <a:gd name="connsiteY15" fmla="*/ 504000 h 504000"/>
              <a:gd name="connsiteX16" fmla="*/ 97297 w 11637357"/>
              <a:gd name="connsiteY16" fmla="*/ 504000 h 504000"/>
              <a:gd name="connsiteX17" fmla="*/ 97297 w 11637357"/>
              <a:gd name="connsiteY17" fmla="*/ 432000 h 504000"/>
              <a:gd name="connsiteX18" fmla="*/ 277297 w 11637357"/>
              <a:gd name="connsiteY18" fmla="*/ 252000 h 504000"/>
              <a:gd name="connsiteX19" fmla="*/ 97297 w 11637357"/>
              <a:gd name="connsiteY19" fmla="*/ 72000 h 504000"/>
              <a:gd name="connsiteX20" fmla="*/ 97297 w 11637357"/>
              <a:gd name="connsiteY20" fmla="*/ 0 h 504000"/>
              <a:gd name="connsiteX0" fmla="*/ 93291 w 10030107"/>
              <a:gd name="connsiteY0" fmla="*/ 146174 h 504000"/>
              <a:gd name="connsiteX1" fmla="*/ 118361 w 10030107"/>
              <a:gd name="connsiteY1" fmla="*/ 146174 h 504000"/>
              <a:gd name="connsiteX2" fmla="*/ 118361 w 10030107"/>
              <a:gd name="connsiteY2" fmla="*/ 239465 h 504000"/>
              <a:gd name="connsiteX3" fmla="*/ 211652 w 10030107"/>
              <a:gd name="connsiteY3" fmla="*/ 239465 h 504000"/>
              <a:gd name="connsiteX4" fmla="*/ 211652 w 10030107"/>
              <a:gd name="connsiteY4" fmla="*/ 264535 h 504000"/>
              <a:gd name="connsiteX5" fmla="*/ 118361 w 10030107"/>
              <a:gd name="connsiteY5" fmla="*/ 264535 h 504000"/>
              <a:gd name="connsiteX6" fmla="*/ 118361 w 10030107"/>
              <a:gd name="connsiteY6" fmla="*/ 357826 h 504000"/>
              <a:gd name="connsiteX7" fmla="*/ 93291 w 10030107"/>
              <a:gd name="connsiteY7" fmla="*/ 357826 h 504000"/>
              <a:gd name="connsiteX8" fmla="*/ 93291 w 10030107"/>
              <a:gd name="connsiteY8" fmla="*/ 264535 h 504000"/>
              <a:gd name="connsiteX9" fmla="*/ 0 w 10030107"/>
              <a:gd name="connsiteY9" fmla="*/ 264535 h 504000"/>
              <a:gd name="connsiteX10" fmla="*/ 0 w 10030107"/>
              <a:gd name="connsiteY10" fmla="*/ 239465 h 504000"/>
              <a:gd name="connsiteX11" fmla="*/ 93291 w 10030107"/>
              <a:gd name="connsiteY11" fmla="*/ 239465 h 504000"/>
              <a:gd name="connsiteX12" fmla="*/ 93291 w 10030107"/>
              <a:gd name="connsiteY12" fmla="*/ 146174 h 504000"/>
              <a:gd name="connsiteX13" fmla="*/ 97297 w 10030107"/>
              <a:gd name="connsiteY13" fmla="*/ 0 h 504000"/>
              <a:gd name="connsiteX14" fmla="*/ 10030107 w 10030107"/>
              <a:gd name="connsiteY14" fmla="*/ 0 h 504000"/>
              <a:gd name="connsiteX15" fmla="*/ 10030106 w 10030107"/>
              <a:gd name="connsiteY15" fmla="*/ 504000 h 504000"/>
              <a:gd name="connsiteX16" fmla="*/ 97297 w 10030107"/>
              <a:gd name="connsiteY16" fmla="*/ 504000 h 504000"/>
              <a:gd name="connsiteX17" fmla="*/ 97297 w 10030107"/>
              <a:gd name="connsiteY17" fmla="*/ 432000 h 504000"/>
              <a:gd name="connsiteX18" fmla="*/ 277297 w 10030107"/>
              <a:gd name="connsiteY18" fmla="*/ 252000 h 504000"/>
              <a:gd name="connsiteX19" fmla="*/ 97297 w 10030107"/>
              <a:gd name="connsiteY19" fmla="*/ 72000 h 504000"/>
              <a:gd name="connsiteX20" fmla="*/ 97297 w 10030107"/>
              <a:gd name="connsiteY20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030107" h="504000">
                <a:moveTo>
                  <a:pt x="93291" y="146174"/>
                </a:moveTo>
                <a:lnTo>
                  <a:pt x="118361" y="146174"/>
                </a:lnTo>
                <a:lnTo>
                  <a:pt x="118361" y="239465"/>
                </a:lnTo>
                <a:lnTo>
                  <a:pt x="211652" y="239465"/>
                </a:lnTo>
                <a:lnTo>
                  <a:pt x="211652" y="264535"/>
                </a:lnTo>
                <a:lnTo>
                  <a:pt x="118361" y="264535"/>
                </a:lnTo>
                <a:lnTo>
                  <a:pt x="118361" y="357826"/>
                </a:lnTo>
                <a:lnTo>
                  <a:pt x="93291" y="357826"/>
                </a:lnTo>
                <a:lnTo>
                  <a:pt x="93291" y="264535"/>
                </a:lnTo>
                <a:lnTo>
                  <a:pt x="0" y="264535"/>
                </a:lnTo>
                <a:lnTo>
                  <a:pt x="0" y="239465"/>
                </a:lnTo>
                <a:lnTo>
                  <a:pt x="93291" y="239465"/>
                </a:lnTo>
                <a:lnTo>
                  <a:pt x="93291" y="146174"/>
                </a:lnTo>
                <a:close/>
                <a:moveTo>
                  <a:pt x="97297" y="0"/>
                </a:moveTo>
                <a:lnTo>
                  <a:pt x="10030107" y="0"/>
                </a:lnTo>
                <a:cubicBezTo>
                  <a:pt x="10030107" y="168000"/>
                  <a:pt x="10030106" y="336000"/>
                  <a:pt x="10030106" y="504000"/>
                </a:cubicBezTo>
                <a:lnTo>
                  <a:pt x="97297" y="504000"/>
                </a:lnTo>
                <a:lnTo>
                  <a:pt x="97297" y="432000"/>
                </a:lnTo>
                <a:cubicBezTo>
                  <a:pt x="196708" y="432000"/>
                  <a:pt x="277297" y="351411"/>
                  <a:pt x="277297" y="252000"/>
                </a:cubicBezTo>
                <a:cubicBezTo>
                  <a:pt x="277297" y="152589"/>
                  <a:pt x="196708" y="72000"/>
                  <a:pt x="97297" y="72000"/>
                </a:cubicBezTo>
                <a:lnTo>
                  <a:pt x="9729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none" lIns="540000" anchor="ctr">
            <a:noAutofit/>
          </a:bodyPr>
          <a:lstStyle>
            <a:lvl1pPr algn="l"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727E0D6-F144-4B3D-A40B-FD2597D709B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28671" y="4016535"/>
            <a:ext cx="7906834" cy="365125"/>
          </a:xfrm>
          <a:custGeom>
            <a:avLst/>
            <a:gdLst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7297 w 11637357"/>
              <a:gd name="connsiteY12" fmla="*/ 0 h 504000"/>
              <a:gd name="connsiteX13" fmla="*/ 11637357 w 11637357"/>
              <a:gd name="connsiteY13" fmla="*/ 0 h 504000"/>
              <a:gd name="connsiteX14" fmla="*/ 11637357 w 11637357"/>
              <a:gd name="connsiteY14" fmla="*/ 504000 h 504000"/>
              <a:gd name="connsiteX15" fmla="*/ 97297 w 11637357"/>
              <a:gd name="connsiteY15" fmla="*/ 504000 h 504000"/>
              <a:gd name="connsiteX16" fmla="*/ 97297 w 11637357"/>
              <a:gd name="connsiteY16" fmla="*/ 432000 h 504000"/>
              <a:gd name="connsiteX17" fmla="*/ 277297 w 11637357"/>
              <a:gd name="connsiteY17" fmla="*/ 252000 h 504000"/>
              <a:gd name="connsiteX18" fmla="*/ 97297 w 11637357"/>
              <a:gd name="connsiteY18" fmla="*/ 72000 h 504000"/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3291 w 11637357"/>
              <a:gd name="connsiteY12" fmla="*/ 146174 h 504000"/>
              <a:gd name="connsiteX13" fmla="*/ 97297 w 11637357"/>
              <a:gd name="connsiteY13" fmla="*/ 0 h 504000"/>
              <a:gd name="connsiteX14" fmla="*/ 11637357 w 11637357"/>
              <a:gd name="connsiteY14" fmla="*/ 0 h 504000"/>
              <a:gd name="connsiteX15" fmla="*/ 10030106 w 11637357"/>
              <a:gd name="connsiteY15" fmla="*/ 504000 h 504000"/>
              <a:gd name="connsiteX16" fmla="*/ 97297 w 11637357"/>
              <a:gd name="connsiteY16" fmla="*/ 504000 h 504000"/>
              <a:gd name="connsiteX17" fmla="*/ 97297 w 11637357"/>
              <a:gd name="connsiteY17" fmla="*/ 432000 h 504000"/>
              <a:gd name="connsiteX18" fmla="*/ 277297 w 11637357"/>
              <a:gd name="connsiteY18" fmla="*/ 252000 h 504000"/>
              <a:gd name="connsiteX19" fmla="*/ 97297 w 11637357"/>
              <a:gd name="connsiteY19" fmla="*/ 72000 h 504000"/>
              <a:gd name="connsiteX20" fmla="*/ 97297 w 11637357"/>
              <a:gd name="connsiteY20" fmla="*/ 0 h 504000"/>
              <a:gd name="connsiteX0" fmla="*/ 93291 w 10030107"/>
              <a:gd name="connsiteY0" fmla="*/ 146174 h 504000"/>
              <a:gd name="connsiteX1" fmla="*/ 118361 w 10030107"/>
              <a:gd name="connsiteY1" fmla="*/ 146174 h 504000"/>
              <a:gd name="connsiteX2" fmla="*/ 118361 w 10030107"/>
              <a:gd name="connsiteY2" fmla="*/ 239465 h 504000"/>
              <a:gd name="connsiteX3" fmla="*/ 211652 w 10030107"/>
              <a:gd name="connsiteY3" fmla="*/ 239465 h 504000"/>
              <a:gd name="connsiteX4" fmla="*/ 211652 w 10030107"/>
              <a:gd name="connsiteY4" fmla="*/ 264535 h 504000"/>
              <a:gd name="connsiteX5" fmla="*/ 118361 w 10030107"/>
              <a:gd name="connsiteY5" fmla="*/ 264535 h 504000"/>
              <a:gd name="connsiteX6" fmla="*/ 118361 w 10030107"/>
              <a:gd name="connsiteY6" fmla="*/ 357826 h 504000"/>
              <a:gd name="connsiteX7" fmla="*/ 93291 w 10030107"/>
              <a:gd name="connsiteY7" fmla="*/ 357826 h 504000"/>
              <a:gd name="connsiteX8" fmla="*/ 93291 w 10030107"/>
              <a:gd name="connsiteY8" fmla="*/ 264535 h 504000"/>
              <a:gd name="connsiteX9" fmla="*/ 0 w 10030107"/>
              <a:gd name="connsiteY9" fmla="*/ 264535 h 504000"/>
              <a:gd name="connsiteX10" fmla="*/ 0 w 10030107"/>
              <a:gd name="connsiteY10" fmla="*/ 239465 h 504000"/>
              <a:gd name="connsiteX11" fmla="*/ 93291 w 10030107"/>
              <a:gd name="connsiteY11" fmla="*/ 239465 h 504000"/>
              <a:gd name="connsiteX12" fmla="*/ 93291 w 10030107"/>
              <a:gd name="connsiteY12" fmla="*/ 146174 h 504000"/>
              <a:gd name="connsiteX13" fmla="*/ 97297 w 10030107"/>
              <a:gd name="connsiteY13" fmla="*/ 0 h 504000"/>
              <a:gd name="connsiteX14" fmla="*/ 10030107 w 10030107"/>
              <a:gd name="connsiteY14" fmla="*/ 0 h 504000"/>
              <a:gd name="connsiteX15" fmla="*/ 10030106 w 10030107"/>
              <a:gd name="connsiteY15" fmla="*/ 504000 h 504000"/>
              <a:gd name="connsiteX16" fmla="*/ 97297 w 10030107"/>
              <a:gd name="connsiteY16" fmla="*/ 504000 h 504000"/>
              <a:gd name="connsiteX17" fmla="*/ 97297 w 10030107"/>
              <a:gd name="connsiteY17" fmla="*/ 432000 h 504000"/>
              <a:gd name="connsiteX18" fmla="*/ 277297 w 10030107"/>
              <a:gd name="connsiteY18" fmla="*/ 252000 h 504000"/>
              <a:gd name="connsiteX19" fmla="*/ 97297 w 10030107"/>
              <a:gd name="connsiteY19" fmla="*/ 72000 h 504000"/>
              <a:gd name="connsiteX20" fmla="*/ 97297 w 10030107"/>
              <a:gd name="connsiteY20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030107" h="504000">
                <a:moveTo>
                  <a:pt x="93291" y="146174"/>
                </a:moveTo>
                <a:lnTo>
                  <a:pt x="118361" y="146174"/>
                </a:lnTo>
                <a:lnTo>
                  <a:pt x="118361" y="239465"/>
                </a:lnTo>
                <a:lnTo>
                  <a:pt x="211652" y="239465"/>
                </a:lnTo>
                <a:lnTo>
                  <a:pt x="211652" y="264535"/>
                </a:lnTo>
                <a:lnTo>
                  <a:pt x="118361" y="264535"/>
                </a:lnTo>
                <a:lnTo>
                  <a:pt x="118361" y="357826"/>
                </a:lnTo>
                <a:lnTo>
                  <a:pt x="93291" y="357826"/>
                </a:lnTo>
                <a:lnTo>
                  <a:pt x="93291" y="264535"/>
                </a:lnTo>
                <a:lnTo>
                  <a:pt x="0" y="264535"/>
                </a:lnTo>
                <a:lnTo>
                  <a:pt x="0" y="239465"/>
                </a:lnTo>
                <a:lnTo>
                  <a:pt x="93291" y="239465"/>
                </a:lnTo>
                <a:lnTo>
                  <a:pt x="93291" y="146174"/>
                </a:lnTo>
                <a:close/>
                <a:moveTo>
                  <a:pt x="97297" y="0"/>
                </a:moveTo>
                <a:lnTo>
                  <a:pt x="10030107" y="0"/>
                </a:lnTo>
                <a:cubicBezTo>
                  <a:pt x="10030107" y="168000"/>
                  <a:pt x="10030106" y="336000"/>
                  <a:pt x="10030106" y="504000"/>
                </a:cubicBezTo>
                <a:lnTo>
                  <a:pt x="97297" y="504000"/>
                </a:lnTo>
                <a:lnTo>
                  <a:pt x="97297" y="432000"/>
                </a:lnTo>
                <a:cubicBezTo>
                  <a:pt x="196708" y="432000"/>
                  <a:pt x="277297" y="351411"/>
                  <a:pt x="277297" y="252000"/>
                </a:cubicBezTo>
                <a:cubicBezTo>
                  <a:pt x="277297" y="152589"/>
                  <a:pt x="196708" y="72000"/>
                  <a:pt x="97297" y="72000"/>
                </a:cubicBezTo>
                <a:lnTo>
                  <a:pt x="9729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none" lIns="540000" anchor="ctr">
            <a:noAutofit/>
          </a:bodyPr>
          <a:lstStyle>
            <a:lvl1pPr algn="l"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4AEA0202-47FD-46F1-B0D6-0431017B70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28671" y="4541889"/>
            <a:ext cx="7906834" cy="365125"/>
          </a:xfrm>
          <a:custGeom>
            <a:avLst/>
            <a:gdLst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7297 w 11637357"/>
              <a:gd name="connsiteY12" fmla="*/ 0 h 504000"/>
              <a:gd name="connsiteX13" fmla="*/ 11637357 w 11637357"/>
              <a:gd name="connsiteY13" fmla="*/ 0 h 504000"/>
              <a:gd name="connsiteX14" fmla="*/ 11637357 w 11637357"/>
              <a:gd name="connsiteY14" fmla="*/ 504000 h 504000"/>
              <a:gd name="connsiteX15" fmla="*/ 97297 w 11637357"/>
              <a:gd name="connsiteY15" fmla="*/ 504000 h 504000"/>
              <a:gd name="connsiteX16" fmla="*/ 97297 w 11637357"/>
              <a:gd name="connsiteY16" fmla="*/ 432000 h 504000"/>
              <a:gd name="connsiteX17" fmla="*/ 277297 w 11637357"/>
              <a:gd name="connsiteY17" fmla="*/ 252000 h 504000"/>
              <a:gd name="connsiteX18" fmla="*/ 97297 w 11637357"/>
              <a:gd name="connsiteY18" fmla="*/ 72000 h 504000"/>
              <a:gd name="connsiteX0" fmla="*/ 93291 w 11637357"/>
              <a:gd name="connsiteY0" fmla="*/ 146174 h 504000"/>
              <a:gd name="connsiteX1" fmla="*/ 118361 w 11637357"/>
              <a:gd name="connsiteY1" fmla="*/ 146174 h 504000"/>
              <a:gd name="connsiteX2" fmla="*/ 118361 w 11637357"/>
              <a:gd name="connsiteY2" fmla="*/ 239465 h 504000"/>
              <a:gd name="connsiteX3" fmla="*/ 211652 w 11637357"/>
              <a:gd name="connsiteY3" fmla="*/ 239465 h 504000"/>
              <a:gd name="connsiteX4" fmla="*/ 211652 w 11637357"/>
              <a:gd name="connsiteY4" fmla="*/ 264535 h 504000"/>
              <a:gd name="connsiteX5" fmla="*/ 118361 w 11637357"/>
              <a:gd name="connsiteY5" fmla="*/ 264535 h 504000"/>
              <a:gd name="connsiteX6" fmla="*/ 118361 w 11637357"/>
              <a:gd name="connsiteY6" fmla="*/ 357826 h 504000"/>
              <a:gd name="connsiteX7" fmla="*/ 93291 w 11637357"/>
              <a:gd name="connsiteY7" fmla="*/ 357826 h 504000"/>
              <a:gd name="connsiteX8" fmla="*/ 93291 w 11637357"/>
              <a:gd name="connsiteY8" fmla="*/ 264535 h 504000"/>
              <a:gd name="connsiteX9" fmla="*/ 0 w 11637357"/>
              <a:gd name="connsiteY9" fmla="*/ 264535 h 504000"/>
              <a:gd name="connsiteX10" fmla="*/ 0 w 11637357"/>
              <a:gd name="connsiteY10" fmla="*/ 239465 h 504000"/>
              <a:gd name="connsiteX11" fmla="*/ 93291 w 11637357"/>
              <a:gd name="connsiteY11" fmla="*/ 239465 h 504000"/>
              <a:gd name="connsiteX12" fmla="*/ 93291 w 11637357"/>
              <a:gd name="connsiteY12" fmla="*/ 146174 h 504000"/>
              <a:gd name="connsiteX13" fmla="*/ 97297 w 11637357"/>
              <a:gd name="connsiteY13" fmla="*/ 0 h 504000"/>
              <a:gd name="connsiteX14" fmla="*/ 11637357 w 11637357"/>
              <a:gd name="connsiteY14" fmla="*/ 0 h 504000"/>
              <a:gd name="connsiteX15" fmla="*/ 10030106 w 11637357"/>
              <a:gd name="connsiteY15" fmla="*/ 504000 h 504000"/>
              <a:gd name="connsiteX16" fmla="*/ 97297 w 11637357"/>
              <a:gd name="connsiteY16" fmla="*/ 504000 h 504000"/>
              <a:gd name="connsiteX17" fmla="*/ 97297 w 11637357"/>
              <a:gd name="connsiteY17" fmla="*/ 432000 h 504000"/>
              <a:gd name="connsiteX18" fmla="*/ 277297 w 11637357"/>
              <a:gd name="connsiteY18" fmla="*/ 252000 h 504000"/>
              <a:gd name="connsiteX19" fmla="*/ 97297 w 11637357"/>
              <a:gd name="connsiteY19" fmla="*/ 72000 h 504000"/>
              <a:gd name="connsiteX20" fmla="*/ 97297 w 11637357"/>
              <a:gd name="connsiteY20" fmla="*/ 0 h 504000"/>
              <a:gd name="connsiteX0" fmla="*/ 93291 w 10030107"/>
              <a:gd name="connsiteY0" fmla="*/ 146174 h 504000"/>
              <a:gd name="connsiteX1" fmla="*/ 118361 w 10030107"/>
              <a:gd name="connsiteY1" fmla="*/ 146174 h 504000"/>
              <a:gd name="connsiteX2" fmla="*/ 118361 w 10030107"/>
              <a:gd name="connsiteY2" fmla="*/ 239465 h 504000"/>
              <a:gd name="connsiteX3" fmla="*/ 211652 w 10030107"/>
              <a:gd name="connsiteY3" fmla="*/ 239465 h 504000"/>
              <a:gd name="connsiteX4" fmla="*/ 211652 w 10030107"/>
              <a:gd name="connsiteY4" fmla="*/ 264535 h 504000"/>
              <a:gd name="connsiteX5" fmla="*/ 118361 w 10030107"/>
              <a:gd name="connsiteY5" fmla="*/ 264535 h 504000"/>
              <a:gd name="connsiteX6" fmla="*/ 118361 w 10030107"/>
              <a:gd name="connsiteY6" fmla="*/ 357826 h 504000"/>
              <a:gd name="connsiteX7" fmla="*/ 93291 w 10030107"/>
              <a:gd name="connsiteY7" fmla="*/ 357826 h 504000"/>
              <a:gd name="connsiteX8" fmla="*/ 93291 w 10030107"/>
              <a:gd name="connsiteY8" fmla="*/ 264535 h 504000"/>
              <a:gd name="connsiteX9" fmla="*/ 0 w 10030107"/>
              <a:gd name="connsiteY9" fmla="*/ 264535 h 504000"/>
              <a:gd name="connsiteX10" fmla="*/ 0 w 10030107"/>
              <a:gd name="connsiteY10" fmla="*/ 239465 h 504000"/>
              <a:gd name="connsiteX11" fmla="*/ 93291 w 10030107"/>
              <a:gd name="connsiteY11" fmla="*/ 239465 h 504000"/>
              <a:gd name="connsiteX12" fmla="*/ 93291 w 10030107"/>
              <a:gd name="connsiteY12" fmla="*/ 146174 h 504000"/>
              <a:gd name="connsiteX13" fmla="*/ 97297 w 10030107"/>
              <a:gd name="connsiteY13" fmla="*/ 0 h 504000"/>
              <a:gd name="connsiteX14" fmla="*/ 10030107 w 10030107"/>
              <a:gd name="connsiteY14" fmla="*/ 0 h 504000"/>
              <a:gd name="connsiteX15" fmla="*/ 10030106 w 10030107"/>
              <a:gd name="connsiteY15" fmla="*/ 504000 h 504000"/>
              <a:gd name="connsiteX16" fmla="*/ 97297 w 10030107"/>
              <a:gd name="connsiteY16" fmla="*/ 504000 h 504000"/>
              <a:gd name="connsiteX17" fmla="*/ 97297 w 10030107"/>
              <a:gd name="connsiteY17" fmla="*/ 432000 h 504000"/>
              <a:gd name="connsiteX18" fmla="*/ 277297 w 10030107"/>
              <a:gd name="connsiteY18" fmla="*/ 252000 h 504000"/>
              <a:gd name="connsiteX19" fmla="*/ 97297 w 10030107"/>
              <a:gd name="connsiteY19" fmla="*/ 72000 h 504000"/>
              <a:gd name="connsiteX20" fmla="*/ 97297 w 10030107"/>
              <a:gd name="connsiteY20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030107" h="504000">
                <a:moveTo>
                  <a:pt x="93291" y="146174"/>
                </a:moveTo>
                <a:lnTo>
                  <a:pt x="118361" y="146174"/>
                </a:lnTo>
                <a:lnTo>
                  <a:pt x="118361" y="239465"/>
                </a:lnTo>
                <a:lnTo>
                  <a:pt x="211652" y="239465"/>
                </a:lnTo>
                <a:lnTo>
                  <a:pt x="211652" y="264535"/>
                </a:lnTo>
                <a:lnTo>
                  <a:pt x="118361" y="264535"/>
                </a:lnTo>
                <a:lnTo>
                  <a:pt x="118361" y="357826"/>
                </a:lnTo>
                <a:lnTo>
                  <a:pt x="93291" y="357826"/>
                </a:lnTo>
                <a:lnTo>
                  <a:pt x="93291" y="264535"/>
                </a:lnTo>
                <a:lnTo>
                  <a:pt x="0" y="264535"/>
                </a:lnTo>
                <a:lnTo>
                  <a:pt x="0" y="239465"/>
                </a:lnTo>
                <a:lnTo>
                  <a:pt x="93291" y="239465"/>
                </a:lnTo>
                <a:lnTo>
                  <a:pt x="93291" y="146174"/>
                </a:lnTo>
                <a:close/>
                <a:moveTo>
                  <a:pt x="97297" y="0"/>
                </a:moveTo>
                <a:lnTo>
                  <a:pt x="10030107" y="0"/>
                </a:lnTo>
                <a:cubicBezTo>
                  <a:pt x="10030107" y="168000"/>
                  <a:pt x="10030106" y="336000"/>
                  <a:pt x="10030106" y="504000"/>
                </a:cubicBezTo>
                <a:lnTo>
                  <a:pt x="97297" y="504000"/>
                </a:lnTo>
                <a:lnTo>
                  <a:pt x="97297" y="432000"/>
                </a:lnTo>
                <a:cubicBezTo>
                  <a:pt x="196708" y="432000"/>
                  <a:pt x="277297" y="351411"/>
                  <a:pt x="277297" y="252000"/>
                </a:cubicBezTo>
                <a:cubicBezTo>
                  <a:pt x="277297" y="152589"/>
                  <a:pt x="196708" y="72000"/>
                  <a:pt x="97297" y="72000"/>
                </a:cubicBezTo>
                <a:lnTo>
                  <a:pt x="9729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none" lIns="540000" anchor="ctr">
            <a:noAutofit/>
          </a:bodyPr>
          <a:lstStyle>
            <a:lvl1pPr algn="l"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1231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7C5FDAA-5EC9-4966-A8EE-E67C622797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38237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29" imgH="330" progId="TCLayout.ActiveDocument.1">
                  <p:embed/>
                </p:oleObj>
              </mc:Choice>
              <mc:Fallback>
                <p:oleObj name="think-cell Folie" r:id="rId20" imgW="329" imgH="33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7C5FDAA-5EC9-4966-A8EE-E67C62279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">
            <a:extLst>
              <a:ext uri="{FF2B5EF4-FFF2-40B4-BE49-F238E27FC236}">
                <a16:creationId xmlns:a16="http://schemas.microsoft.com/office/drawing/2014/main" id="{8594D608-8A3E-FF3B-5C8A-4BA0B5A81D73}"/>
              </a:ext>
            </a:extLst>
          </p:cNvPr>
          <p:cNvSpPr txBox="1"/>
          <p:nvPr userDrawn="1"/>
        </p:nvSpPr>
        <p:spPr>
          <a:xfrm>
            <a:off x="243191" y="6499458"/>
            <a:ext cx="116281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</a:rPr>
              <a:t>Oxford Instruments Proprietary Information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2ED56-1C5D-450B-80A2-A71EDE46BE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4C4C4C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6F54795-7B56-4F22-B684-FF2EFE1BA69C}"/>
              </a:ext>
            </a:extLst>
          </p:cNvPr>
          <p:cNvCxnSpPr>
            <a:cxnSpLocks/>
          </p:cNvCxnSpPr>
          <p:nvPr userDrawn="1"/>
        </p:nvCxnSpPr>
        <p:spPr>
          <a:xfrm>
            <a:off x="330628" y="6420483"/>
            <a:ext cx="11530744" cy="0"/>
          </a:xfrm>
          <a:prstGeom prst="line">
            <a:avLst/>
          </a:prstGeom>
          <a:ln w="25400">
            <a:solidFill>
              <a:srgbClr val="1C267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DCB56EF-00DB-4C97-B6C2-0E035DD454DE}"/>
              </a:ext>
            </a:extLst>
          </p:cNvPr>
          <p:cNvCxnSpPr>
            <a:cxnSpLocks/>
          </p:cNvCxnSpPr>
          <p:nvPr/>
        </p:nvCxnSpPr>
        <p:spPr>
          <a:xfrm>
            <a:off x="330628" y="1027906"/>
            <a:ext cx="11530744" cy="0"/>
          </a:xfrm>
          <a:prstGeom prst="line">
            <a:avLst/>
          </a:prstGeom>
          <a:ln w="25400">
            <a:solidFill>
              <a:srgbClr val="1C267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Date Placeholder 3">
            <a:extLst>
              <a:ext uri="{FF2B5EF4-FFF2-40B4-BE49-F238E27FC236}">
                <a16:creationId xmlns:a16="http://schemas.microsoft.com/office/drawing/2014/main" id="{6AA744BD-6790-45DB-B4E2-C47FACE5EB3C}"/>
              </a:ext>
            </a:extLst>
          </p:cNvPr>
          <p:cNvSpPr txBox="1">
            <a:spLocks/>
          </p:cNvSpPr>
          <p:nvPr userDrawn="1"/>
        </p:nvSpPr>
        <p:spPr>
          <a:xfrm>
            <a:off x="243191" y="6450354"/>
            <a:ext cx="2830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4C4C4C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Oxford Instruments 202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34EB4B-614A-4BF9-BCB7-F81A785ED06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09127" y="246497"/>
            <a:ext cx="1860671" cy="646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942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31" r:id="rId2"/>
    <p:sldLayoutId id="2147483932" r:id="rId3"/>
    <p:sldLayoutId id="2147483954" r:id="rId4"/>
    <p:sldLayoutId id="2147484027" r:id="rId5"/>
    <p:sldLayoutId id="2147483936" r:id="rId6"/>
    <p:sldLayoutId id="2147483938" r:id="rId7"/>
    <p:sldLayoutId id="2147483939" r:id="rId8"/>
    <p:sldLayoutId id="2147483942" r:id="rId9"/>
    <p:sldLayoutId id="2147483946" r:id="rId10"/>
    <p:sldLayoutId id="2147483948" r:id="rId11"/>
    <p:sldLayoutId id="2147483949" r:id="rId12"/>
    <p:sldLayoutId id="2147483978" r:id="rId13"/>
    <p:sldLayoutId id="2147483979" r:id="rId14"/>
    <p:sldLayoutId id="2147484059" r:id="rId15"/>
    <p:sldLayoutId id="2147484063" r:id="rId16"/>
    <p:sldLayoutId id="2147484064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1C2674"/>
          </a:solidFill>
          <a:latin typeface="Raleway" panose="020B0003030101060003" pitchFamily="34" charset="0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90000"/>
        </a:lnSpc>
        <a:spcBef>
          <a:spcPts val="1000"/>
        </a:spcBef>
        <a:spcAft>
          <a:spcPts val="300"/>
        </a:spcAft>
        <a:buClr>
          <a:srgbClr val="F79548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Clr>
          <a:srgbClr val="1C2674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1800" kern="1200">
          <a:solidFill>
            <a:srgbClr val="F7954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Clr>
          <a:srgbClr val="1C267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Clr>
          <a:srgbClr val="F79548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A9A5640-749B-4DFF-8848-A7D9C3D8D3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69964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9" imgH="330" progId="TCLayout.ActiveDocument.1">
                  <p:embed/>
                </p:oleObj>
              </mc:Choice>
              <mc:Fallback>
                <p:oleObj name="think-cell Folie" r:id="rId4" imgW="329" imgH="33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A9A5640-749B-4DFF-8848-A7D9C3D8D3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DCB56EF-00DB-4C97-B6C2-0E035DD454DE}"/>
              </a:ext>
            </a:extLst>
          </p:cNvPr>
          <p:cNvCxnSpPr>
            <a:cxnSpLocks/>
          </p:cNvCxnSpPr>
          <p:nvPr/>
        </p:nvCxnSpPr>
        <p:spPr>
          <a:xfrm>
            <a:off x="330628" y="1027906"/>
            <a:ext cx="11530744" cy="0"/>
          </a:xfrm>
          <a:prstGeom prst="line">
            <a:avLst/>
          </a:prstGeom>
          <a:ln w="25400">
            <a:solidFill>
              <a:srgbClr val="1C267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0E24E00-29BC-428D-8724-25D539486C92}"/>
              </a:ext>
            </a:extLst>
          </p:cNvPr>
          <p:cNvSpPr txBox="1">
            <a:spLocks/>
          </p:cNvSpPr>
          <p:nvPr/>
        </p:nvSpPr>
        <p:spPr>
          <a:xfrm>
            <a:off x="3639403" y="6450353"/>
            <a:ext cx="49131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>
                <a:solidFill>
                  <a:srgbClr val="EA76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TERNAL USE ONLY - PRIVATE AND CONFIDENTIAL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34EB4B-614A-4BF9-BCB7-F81A785ED06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00019" y="246497"/>
            <a:ext cx="1878888" cy="646874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167161F-8BFE-4D3A-A0D1-4A5E67596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4C4C4C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64C3C035-59AE-4894-81E6-EDBAA7ED4E6D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4FD84B8-C06B-439C-BB18-BF62DAD78507}"/>
              </a:ext>
            </a:extLst>
          </p:cNvPr>
          <p:cNvCxnSpPr>
            <a:cxnSpLocks/>
          </p:cNvCxnSpPr>
          <p:nvPr/>
        </p:nvCxnSpPr>
        <p:spPr>
          <a:xfrm>
            <a:off x="330628" y="6420483"/>
            <a:ext cx="11530744" cy="0"/>
          </a:xfrm>
          <a:prstGeom prst="line">
            <a:avLst/>
          </a:prstGeom>
          <a:ln w="25400">
            <a:solidFill>
              <a:srgbClr val="1C267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A757831A-F837-4C59-A4CD-0311831EF077}"/>
              </a:ext>
            </a:extLst>
          </p:cNvPr>
          <p:cNvSpPr txBox="1">
            <a:spLocks/>
          </p:cNvSpPr>
          <p:nvPr/>
        </p:nvSpPr>
        <p:spPr>
          <a:xfrm>
            <a:off x="243191" y="6450354"/>
            <a:ext cx="2830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4C4C4C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Oxford Instruments 2023</a:t>
            </a:r>
          </a:p>
        </p:txBody>
      </p:sp>
    </p:spTree>
    <p:extLst>
      <p:ext uri="{BB962C8B-B14F-4D97-AF65-F5344CB8AC3E}">
        <p14:creationId xmlns:p14="http://schemas.microsoft.com/office/powerpoint/2010/main" val="135365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1C2674"/>
          </a:solidFill>
          <a:latin typeface="Raleway" panose="020B0003030101060003" pitchFamily="34" charset="0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90000"/>
        </a:lnSpc>
        <a:spcBef>
          <a:spcPts val="1000"/>
        </a:spcBef>
        <a:spcAft>
          <a:spcPts val="300"/>
        </a:spcAft>
        <a:buClr>
          <a:srgbClr val="F79548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Clr>
          <a:srgbClr val="1C2674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1800" kern="1200">
          <a:solidFill>
            <a:srgbClr val="F7954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Clr>
          <a:srgbClr val="1C267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Clr>
          <a:srgbClr val="F79548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58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.xml"/><Relationship Id="rId6" Type="http://schemas.openxmlformats.org/officeDocument/2006/relationships/image" Target="../media/image61.png"/><Relationship Id="rId5" Type="http://schemas.openxmlformats.org/officeDocument/2006/relationships/image" Target="../media/image60.jpe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64.jpeg"/><Relationship Id="rId12" Type="http://schemas.openxmlformats.org/officeDocument/2006/relationships/image" Target="../media/image69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1.xml"/><Relationship Id="rId6" Type="http://schemas.openxmlformats.org/officeDocument/2006/relationships/image" Target="../media/image63.jpeg"/><Relationship Id="rId11" Type="http://schemas.openxmlformats.org/officeDocument/2006/relationships/image" Target="../media/image68.png"/><Relationship Id="rId5" Type="http://schemas.openxmlformats.org/officeDocument/2006/relationships/image" Target="../media/image62.jpeg"/><Relationship Id="rId10" Type="http://schemas.openxmlformats.org/officeDocument/2006/relationships/image" Target="../media/image67.png"/><Relationship Id="rId4" Type="http://schemas.openxmlformats.org/officeDocument/2006/relationships/image" Target="../media/image1.emf"/><Relationship Id="rId9" Type="http://schemas.openxmlformats.org/officeDocument/2006/relationships/image" Target="../media/image6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72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2.xml"/><Relationship Id="rId6" Type="http://schemas.openxmlformats.org/officeDocument/2006/relationships/image" Target="../media/image71.svg"/><Relationship Id="rId5" Type="http://schemas.openxmlformats.org/officeDocument/2006/relationships/image" Target="../media/image70.png"/><Relationship Id="rId4" Type="http://schemas.openxmlformats.org/officeDocument/2006/relationships/image" Target="../media/image1.emf"/><Relationship Id="rId9" Type="http://schemas.openxmlformats.org/officeDocument/2006/relationships/image" Target="../media/image7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3.xml"/><Relationship Id="rId4" Type="http://schemas.openxmlformats.org/officeDocument/2006/relationships/image" Target="../media/image24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image" Target="../media/image75.png"/><Relationship Id="rId3" Type="http://schemas.openxmlformats.org/officeDocument/2006/relationships/tags" Target="../tags/tag36.xml"/><Relationship Id="rId21" Type="http://schemas.openxmlformats.org/officeDocument/2006/relationships/image" Target="../media/image78.sv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49.png"/><Relationship Id="rId25" Type="http://schemas.openxmlformats.org/officeDocument/2006/relationships/image" Target="../media/image82.svg"/><Relationship Id="rId2" Type="http://schemas.openxmlformats.org/officeDocument/2006/relationships/tags" Target="../tags/tag35.xml"/><Relationship Id="rId16" Type="http://schemas.openxmlformats.org/officeDocument/2006/relationships/image" Target="../media/image1.emf"/><Relationship Id="rId20" Type="http://schemas.openxmlformats.org/officeDocument/2006/relationships/image" Target="../media/image77.pn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image" Target="../media/image81.png"/><Relationship Id="rId5" Type="http://schemas.openxmlformats.org/officeDocument/2006/relationships/tags" Target="../tags/tag38.xml"/><Relationship Id="rId15" Type="http://schemas.openxmlformats.org/officeDocument/2006/relationships/oleObject" Target="../embeddings/oleObject23.bin"/><Relationship Id="rId23" Type="http://schemas.openxmlformats.org/officeDocument/2006/relationships/image" Target="../media/image80.svg"/><Relationship Id="rId10" Type="http://schemas.openxmlformats.org/officeDocument/2006/relationships/tags" Target="../tags/tag43.xml"/><Relationship Id="rId19" Type="http://schemas.openxmlformats.org/officeDocument/2006/relationships/image" Target="../media/image76.svg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slideLayout" Target="../slideLayouts/slideLayout15.xml"/><Relationship Id="rId22" Type="http://schemas.openxmlformats.org/officeDocument/2006/relationships/image" Target="../media/image7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7.xml"/><Relationship Id="rId4" Type="http://schemas.openxmlformats.org/officeDocument/2006/relationships/image" Target="../media/image24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25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8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10" Type="http://schemas.openxmlformats.org/officeDocument/2006/relationships/image" Target="../media/image83.png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2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3.xml"/><Relationship Id="rId4" Type="http://schemas.openxmlformats.org/officeDocument/2006/relationships/image" Target="../media/image24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5.jpeg"/><Relationship Id="rId12" Type="http://schemas.openxmlformats.org/officeDocument/2006/relationships/image" Target="../media/image30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11" Type="http://schemas.openxmlformats.org/officeDocument/2006/relationships/image" Target="../media/image29.jpeg"/><Relationship Id="rId5" Type="http://schemas.openxmlformats.org/officeDocument/2006/relationships/image" Target="../media/image3.png"/><Relationship Id="rId15" Type="http://schemas.openxmlformats.org/officeDocument/2006/relationships/image" Target="../media/image33.png"/><Relationship Id="rId10" Type="http://schemas.openxmlformats.org/officeDocument/2006/relationships/image" Target="../media/image28.jpeg"/><Relationship Id="rId4" Type="http://schemas.openxmlformats.org/officeDocument/2006/relationships/image" Target="../media/image1.emf"/><Relationship Id="rId9" Type="http://schemas.openxmlformats.org/officeDocument/2006/relationships/image" Target="../media/image27.jpeg"/><Relationship Id="rId1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18" Type="http://schemas.openxmlformats.org/officeDocument/2006/relationships/image" Target="../media/image47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36.jpeg"/><Relationship Id="rId12" Type="http://schemas.openxmlformats.org/officeDocument/2006/relationships/image" Target="../media/image41.svg"/><Relationship Id="rId17" Type="http://schemas.openxmlformats.org/officeDocument/2006/relationships/image" Target="../media/image46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45.svg"/><Relationship Id="rId1" Type="http://schemas.openxmlformats.org/officeDocument/2006/relationships/tags" Target="../tags/tag15.xml"/><Relationship Id="rId6" Type="http://schemas.openxmlformats.org/officeDocument/2006/relationships/image" Target="../media/image35.jpeg"/><Relationship Id="rId11" Type="http://schemas.openxmlformats.org/officeDocument/2006/relationships/image" Target="../media/image40.png"/><Relationship Id="rId5" Type="http://schemas.openxmlformats.org/officeDocument/2006/relationships/image" Target="../media/image34.jpeg"/><Relationship Id="rId15" Type="http://schemas.openxmlformats.org/officeDocument/2006/relationships/image" Target="../media/image44.png"/><Relationship Id="rId10" Type="http://schemas.openxmlformats.org/officeDocument/2006/relationships/image" Target="../media/image39.svg"/><Relationship Id="rId4" Type="http://schemas.openxmlformats.org/officeDocument/2006/relationships/image" Target="../media/image1.emf"/><Relationship Id="rId9" Type="http://schemas.openxmlformats.org/officeDocument/2006/relationships/image" Target="../media/image38.png"/><Relationship Id="rId14" Type="http://schemas.openxmlformats.org/officeDocument/2006/relationships/image" Target="../media/image43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6.xml"/><Relationship Id="rId4" Type="http://schemas.openxmlformats.org/officeDocument/2006/relationships/image" Target="../media/image2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7.xml"/><Relationship Id="rId5" Type="http://schemas.openxmlformats.org/officeDocument/2006/relationships/image" Target="../media/image4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slideLayout" Target="../slideLayouts/slideLayout15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7.png"/><Relationship Id="rId3" Type="http://schemas.openxmlformats.org/officeDocument/2006/relationships/image" Target="../media/image50.png"/><Relationship Id="rId7" Type="http://schemas.openxmlformats.org/officeDocument/2006/relationships/image" Target="../media/image52.jpeg"/><Relationship Id="rId12" Type="http://schemas.openxmlformats.org/officeDocument/2006/relationships/image" Target="../media/image5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6" Type="http://schemas.openxmlformats.org/officeDocument/2006/relationships/image" Target="../media/image51.png"/><Relationship Id="rId11" Type="http://schemas.openxmlformats.org/officeDocument/2006/relationships/image" Target="../media/image55.png"/><Relationship Id="rId5" Type="http://schemas.openxmlformats.org/officeDocument/2006/relationships/image" Target="../media/image1.emf"/><Relationship Id="rId15" Type="http://schemas.openxmlformats.org/officeDocument/2006/relationships/image" Target="../media/image59.png"/><Relationship Id="rId10" Type="http://schemas.openxmlformats.org/officeDocument/2006/relationships/image" Target="../media/image54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49.png"/><Relationship Id="rId14" Type="http://schemas.openxmlformats.org/officeDocument/2006/relationships/image" Target="../media/image5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AFAAE2F-20B0-49A9-968A-84C303DEE2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96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AFAAE2F-20B0-49A9-968A-84C303DEE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EE957FF-0D49-4812-869F-09345CEC81A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ABA8A"/>
          </a:solidFill>
          <a:ln w="12700" cap="flat" cmpd="sng" algn="ctr">
            <a:solidFill>
              <a:srgbClr val="F7944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en-GB" sz="14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0" name="Titel 29">
            <a:extLst>
              <a:ext uri="{FF2B5EF4-FFF2-40B4-BE49-F238E27FC236}">
                <a16:creationId xmlns:a16="http://schemas.microsoft.com/office/drawing/2014/main" id="{E33D7BD9-E947-421D-BCD6-CE7F839F52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5977" y="2586335"/>
            <a:ext cx="4715201" cy="739571"/>
          </a:xfrm>
          <a:prstGeom prst="rect">
            <a:avLst/>
          </a:prstGeom>
        </p:spPr>
        <p:txBody>
          <a:bodyPr vert="horz">
            <a:normAutofit fontScale="90000"/>
          </a:bodyPr>
          <a:lstStyle/>
          <a:p>
            <a:r>
              <a:rPr lang="en-GB" dirty="0">
                <a:solidFill>
                  <a:schemeClr val="accent2"/>
                </a:solidFill>
              </a:rPr>
              <a:t>Plasma Polish</a:t>
            </a:r>
            <a:endParaRPr lang="de-DE" b="0" dirty="0">
              <a:solidFill>
                <a:schemeClr val="accent2"/>
              </a:solidFill>
            </a:endParaRPr>
          </a:p>
        </p:txBody>
      </p:sp>
      <p:sp>
        <p:nvSpPr>
          <p:cNvPr id="31" name="Untertitel 30">
            <a:extLst>
              <a:ext uri="{FF2B5EF4-FFF2-40B4-BE49-F238E27FC236}">
                <a16:creationId xmlns:a16="http://schemas.microsoft.com/office/drawing/2014/main" id="{9C156956-DCB2-4971-A7F1-77585B6C67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5815" y="3446926"/>
            <a:ext cx="4715363" cy="1514865"/>
          </a:xfrm>
          <a:prstGeom prst="rect">
            <a:avLst/>
          </a:prstGeom>
        </p:spPr>
        <p:txBody>
          <a:bodyPr anchor="t"/>
          <a:lstStyle/>
          <a:p>
            <a:r>
              <a:rPr lang="en-GB" sz="2000" dirty="0">
                <a:latin typeface="Century Gothic" panose="020B0502020202020204" pitchFamily="34" charset="0"/>
              </a:rPr>
              <a:t>Dry Polish Solution to Prepare Epi-Ready </a:t>
            </a:r>
            <a:r>
              <a:rPr lang="en-GB" sz="2000" dirty="0" err="1">
                <a:latin typeface="Century Gothic" panose="020B0502020202020204" pitchFamily="34" charset="0"/>
              </a:rPr>
              <a:t>SiC</a:t>
            </a:r>
            <a:r>
              <a:rPr lang="en-GB" sz="2000" dirty="0">
                <a:latin typeface="Century Gothic" panose="020B0502020202020204" pitchFamily="34" charset="0"/>
              </a:rPr>
              <a:t> for Power Applications</a:t>
            </a:r>
          </a:p>
          <a:p>
            <a:r>
              <a:rPr lang="en-GB" sz="2400" dirty="0" err="1">
                <a:solidFill>
                  <a:schemeClr val="accent1"/>
                </a:solidFill>
                <a:latin typeface="Century Gothic" panose="020B0502020202020204" pitchFamily="34" charset="0"/>
              </a:rPr>
              <a:t>Amandev</a:t>
            </a:r>
            <a:r>
              <a:rPr lang="en-GB" sz="2400" dirty="0">
                <a:solidFill>
                  <a:schemeClr val="accent1"/>
                </a:solidFill>
                <a:latin typeface="Century Gothic" panose="020B0502020202020204" pitchFamily="34" charset="0"/>
              </a:rPr>
              <a:t> Singh</a:t>
            </a:r>
            <a:br>
              <a:rPr lang="en-GB" dirty="0">
                <a:solidFill>
                  <a:schemeClr val="accent2"/>
                </a:solidFill>
                <a:latin typeface="Century Gothic" panose="020B0502020202020204" pitchFamily="34" charset="0"/>
              </a:rPr>
            </a:br>
            <a:br>
              <a:rPr lang="en-GB" dirty="0">
                <a:solidFill>
                  <a:schemeClr val="accent2"/>
                </a:solidFill>
                <a:latin typeface="Century Gothic" panose="020B0502020202020204" pitchFamily="34" charset="0"/>
              </a:rPr>
            </a:br>
            <a:r>
              <a:rPr lang="en-GB" sz="2000" i="1" dirty="0">
                <a:solidFill>
                  <a:schemeClr val="accent2"/>
                </a:solidFill>
                <a:latin typeface="Century Gothic" panose="020B0502020202020204" pitchFamily="34" charset="0"/>
              </a:rPr>
              <a:t>Product Manager                                    </a:t>
            </a:r>
            <a:r>
              <a:rPr lang="en-GB" sz="2000" dirty="0">
                <a:solidFill>
                  <a:schemeClr val="accent2"/>
                </a:solidFill>
                <a:latin typeface="Century Gothic" panose="020B0502020202020204" pitchFamily="34" charset="0"/>
              </a:rPr>
              <a:t>Oxford Instruments Plasma Technology</a:t>
            </a:r>
            <a:endParaRPr lang="de-DE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72892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354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9" imgH="330" progId="TCLayout.ActiveDocument.1">
                  <p:embed/>
                </p:oleObj>
              </mc:Choice>
              <mc:Fallback>
                <p:oleObj name="think-cell Folie" r:id="rId3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400" y="127001"/>
            <a:ext cx="9579599" cy="753532"/>
          </a:xfrm>
        </p:spPr>
        <p:txBody>
          <a:bodyPr vert="horz"/>
          <a:lstStyle/>
          <a:p>
            <a:r>
              <a:rPr lang="en-US" sz="3200" dirty="0">
                <a:solidFill>
                  <a:schemeClr val="accent2"/>
                </a:solidFill>
              </a:rPr>
              <a:t>Process Validation: Epi-Growth</a:t>
            </a:r>
            <a:endParaRPr lang="en-US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5129402-D085-CD72-48BE-04C2454EBE3F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9</a:t>
            </a:fld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5" name="Content Placeholder 25">
            <a:extLst>
              <a:ext uri="{FF2B5EF4-FFF2-40B4-BE49-F238E27FC236}">
                <a16:creationId xmlns:a16="http://schemas.microsoft.com/office/drawing/2014/main" id="{1ECF5CD2-4BD9-AAB6-803C-AE42C78AE690}"/>
              </a:ext>
            </a:extLst>
          </p:cNvPr>
          <p:cNvSpPr txBox="1">
            <a:spLocks/>
          </p:cNvSpPr>
          <p:nvPr/>
        </p:nvSpPr>
        <p:spPr>
          <a:xfrm>
            <a:off x="299506" y="1271152"/>
            <a:ext cx="11761314" cy="419750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chemeClr val="accent1"/>
              </a:buClr>
              <a:buSzPct val="70000"/>
              <a:buFont typeface="Oxford Raleway" pitchFamily="2" charset="0"/>
              <a:buChar char="•"/>
              <a:defRPr sz="2400" kern="120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Oxford Raleway" pitchFamily="2" charset="0"/>
              <a:buChar char="•"/>
              <a:defRPr sz="2000" kern="1200">
                <a:solidFill>
                  <a:schemeClr val="accent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6"/>
              </a:buClr>
              <a:buSzPct val="70000"/>
              <a:buFont typeface="Oxford Raleway" pitchFamily="2" charset="0"/>
              <a:buChar char="•"/>
              <a:defRPr sz="180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>
                <a:solidFill>
                  <a:schemeClr val="accent2"/>
                </a:solidFill>
              </a:rPr>
              <a:t>Post Epi Roughness of Plasma Polish wafers comparable to benchmark CMP reference processed using same recipe. </a:t>
            </a: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88053648-0619-4827-54F2-5FE0A0F058D3}"/>
              </a:ext>
            </a:extLst>
          </p:cNvPr>
          <p:cNvSpPr txBox="1"/>
          <p:nvPr/>
        </p:nvSpPr>
        <p:spPr>
          <a:xfrm>
            <a:off x="346721" y="2097627"/>
            <a:ext cx="5749279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A7600"/>
                </a:solidFill>
                <a:effectLst/>
                <a:uLnTx/>
                <a:uFillTx/>
                <a:latin typeface="Century Gothic" panose="020B0502020202020204" pitchFamily="34" charset="0"/>
              </a:rPr>
              <a:t>Plasma Polish - Oxford Instruments</a:t>
            </a: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5F9C4223-F250-36D5-2E12-32A5E70D7885}"/>
              </a:ext>
            </a:extLst>
          </p:cNvPr>
          <p:cNvSpPr txBox="1"/>
          <p:nvPr/>
        </p:nvSpPr>
        <p:spPr>
          <a:xfrm>
            <a:off x="8453121" y="2097627"/>
            <a:ext cx="3237310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EA7600"/>
                </a:solidFill>
                <a:effectLst/>
                <a:uLnTx/>
                <a:uFillTx/>
                <a:latin typeface="Century Gothic" panose="020B0502020202020204" pitchFamily="34" charset="0"/>
              </a:rPr>
              <a:t>CMP Reference</a:t>
            </a:r>
          </a:p>
        </p:txBody>
      </p:sp>
      <p:sp>
        <p:nvSpPr>
          <p:cNvPr id="12" name="Arrow: Right 69">
            <a:extLst>
              <a:ext uri="{FF2B5EF4-FFF2-40B4-BE49-F238E27FC236}">
                <a16:creationId xmlns:a16="http://schemas.microsoft.com/office/drawing/2014/main" id="{E6374A4C-6A71-40CB-94F7-07D8037D21D0}"/>
              </a:ext>
            </a:extLst>
          </p:cNvPr>
          <p:cNvSpPr/>
          <p:nvPr/>
        </p:nvSpPr>
        <p:spPr>
          <a:xfrm>
            <a:off x="3412205" y="3357879"/>
            <a:ext cx="1571914" cy="1659342"/>
          </a:xfrm>
          <a:prstGeom prst="rightArrow">
            <a:avLst>
              <a:gd name="adj1" fmla="val 100000"/>
              <a:gd name="adj2" fmla="val 2091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b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70">
            <a:extLst>
              <a:ext uri="{FF2B5EF4-FFF2-40B4-BE49-F238E27FC236}">
                <a16:creationId xmlns:a16="http://schemas.microsoft.com/office/drawing/2014/main" id="{66702445-578C-494D-E6C0-61FE7095EEC1}"/>
              </a:ext>
            </a:extLst>
          </p:cNvPr>
          <p:cNvSpPr txBox="1"/>
          <p:nvPr/>
        </p:nvSpPr>
        <p:spPr>
          <a:xfrm>
            <a:off x="3401097" y="3853185"/>
            <a:ext cx="138194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GB" sz="1300" dirty="0">
                <a:solidFill>
                  <a:schemeClr val="bg1"/>
                </a:solidFill>
                <a:latin typeface="Century Gothic" panose="020B0502020202020204" pitchFamily="34" charset="0"/>
              </a:rPr>
              <a:t>Standard recipe (10um Dep)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GB" sz="1300" dirty="0">
                <a:solidFill>
                  <a:schemeClr val="bg1"/>
                </a:solidFill>
                <a:latin typeface="Century Gothic" panose="020B0502020202020204" pitchFamily="34" charset="0"/>
              </a:rPr>
              <a:t>80% Ra Reduction.  </a:t>
            </a:r>
          </a:p>
        </p:txBody>
      </p:sp>
      <p:sp>
        <p:nvSpPr>
          <p:cNvPr id="15" name="TextBox 1">
            <a:extLst>
              <a:ext uri="{FF2B5EF4-FFF2-40B4-BE49-F238E27FC236}">
                <a16:creationId xmlns:a16="http://schemas.microsoft.com/office/drawing/2014/main" id="{9ADEB7C3-213D-DDCB-6B8D-4D4571F42192}"/>
              </a:ext>
            </a:extLst>
          </p:cNvPr>
          <p:cNvSpPr txBox="1"/>
          <p:nvPr/>
        </p:nvSpPr>
        <p:spPr>
          <a:xfrm>
            <a:off x="3419496" y="3390038"/>
            <a:ext cx="9220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OCVD Growth</a:t>
            </a:r>
          </a:p>
        </p:txBody>
      </p:sp>
      <p:pic>
        <p:nvPicPr>
          <p:cNvPr id="17" name="Picture 21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7A31EC5-922A-8AA0-F55C-61168B59993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57000" y="2968517"/>
            <a:ext cx="2685603" cy="2444244"/>
          </a:xfrm>
          <a:prstGeom prst="rect">
            <a:avLst/>
          </a:prstGeom>
        </p:spPr>
      </p:pic>
      <p:pic>
        <p:nvPicPr>
          <p:cNvPr id="18" name="Picture 3">
            <a:extLst>
              <a:ext uri="{FF2B5EF4-FFF2-40B4-BE49-F238E27FC236}">
                <a16:creationId xmlns:a16="http://schemas.microsoft.com/office/drawing/2014/main" id="{B472D038-B232-1963-B796-00A4A176CF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/>
          <a:stretch/>
        </p:blipFill>
        <p:spPr>
          <a:xfrm>
            <a:off x="5116199" y="2968517"/>
            <a:ext cx="2672275" cy="2432116"/>
          </a:xfrm>
          <a:prstGeom prst="rect">
            <a:avLst/>
          </a:prstGeom>
        </p:spPr>
      </p:pic>
      <p:pic>
        <p:nvPicPr>
          <p:cNvPr id="19" name="Picture 18" descr="A picture containing text, outdoor">
            <a:extLst>
              <a:ext uri="{FF2B5EF4-FFF2-40B4-BE49-F238E27FC236}">
                <a16:creationId xmlns:a16="http://schemas.microsoft.com/office/drawing/2014/main" id="{D08061B0-BBA8-FA04-B451-F4629FAB77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1"/>
          <a:stretch/>
        </p:blipFill>
        <p:spPr>
          <a:xfrm>
            <a:off x="597543" y="2972006"/>
            <a:ext cx="2677130" cy="2436533"/>
          </a:xfrm>
          <a:prstGeom prst="rect">
            <a:avLst/>
          </a:prstGeom>
        </p:spPr>
      </p:pic>
      <p:sp>
        <p:nvSpPr>
          <p:cNvPr id="32" name="TextBox 40">
            <a:extLst>
              <a:ext uri="{FF2B5EF4-FFF2-40B4-BE49-F238E27FC236}">
                <a16:creationId xmlns:a16="http://schemas.microsoft.com/office/drawing/2014/main" id="{8F38216D-6CA4-8945-03D9-AC552B7ED1D0}"/>
              </a:ext>
            </a:extLst>
          </p:cNvPr>
          <p:cNvSpPr txBox="1"/>
          <p:nvPr/>
        </p:nvSpPr>
        <p:spPr>
          <a:xfrm>
            <a:off x="5264786" y="2567336"/>
            <a:ext cx="24020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fter deposition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40">
            <a:extLst>
              <a:ext uri="{FF2B5EF4-FFF2-40B4-BE49-F238E27FC236}">
                <a16:creationId xmlns:a16="http://schemas.microsoft.com/office/drawing/2014/main" id="{6A77F8D3-494A-EC7D-53F3-FE6E972A1BEC}"/>
              </a:ext>
            </a:extLst>
          </p:cNvPr>
          <p:cNvSpPr txBox="1"/>
          <p:nvPr/>
        </p:nvSpPr>
        <p:spPr>
          <a:xfrm>
            <a:off x="8998945" y="2567336"/>
            <a:ext cx="24020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fter deposition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15">
            <a:extLst>
              <a:ext uri="{FF2B5EF4-FFF2-40B4-BE49-F238E27FC236}">
                <a16:creationId xmlns:a16="http://schemas.microsoft.com/office/drawing/2014/main" id="{D7911E8A-E581-6000-C93D-0DE220178FA3}"/>
              </a:ext>
            </a:extLst>
          </p:cNvPr>
          <p:cNvSpPr txBox="1"/>
          <p:nvPr/>
        </p:nvSpPr>
        <p:spPr>
          <a:xfrm>
            <a:off x="676890" y="2567336"/>
            <a:ext cx="24020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Plasma Polish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TextBox 58">
            <a:extLst>
              <a:ext uri="{FF2B5EF4-FFF2-40B4-BE49-F238E27FC236}">
                <a16:creationId xmlns:a16="http://schemas.microsoft.com/office/drawing/2014/main" id="{CBC9BD43-0876-EDDC-7688-9917EB7C9F91}"/>
              </a:ext>
            </a:extLst>
          </p:cNvPr>
          <p:cNvSpPr txBox="1"/>
          <p:nvPr/>
        </p:nvSpPr>
        <p:spPr>
          <a:xfrm>
            <a:off x="1083222" y="5462306"/>
            <a:ext cx="17197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</a:t>
            </a:r>
            <a:r>
              <a:rPr kumimoji="0" lang="en-US" b="1" i="0" u="none" strike="noStrike" kern="1200" cap="none" spc="0" normalizeH="0" baseline="-2500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nm) – 0.70</a:t>
            </a:r>
          </a:p>
        </p:txBody>
      </p:sp>
      <p:sp>
        <p:nvSpPr>
          <p:cNvPr id="42" name="TextBox 58">
            <a:extLst>
              <a:ext uri="{FF2B5EF4-FFF2-40B4-BE49-F238E27FC236}">
                <a16:creationId xmlns:a16="http://schemas.microsoft.com/office/drawing/2014/main" id="{84E08541-33DE-E91C-1DE4-028620BC6EAB}"/>
              </a:ext>
            </a:extLst>
          </p:cNvPr>
          <p:cNvSpPr txBox="1"/>
          <p:nvPr/>
        </p:nvSpPr>
        <p:spPr>
          <a:xfrm>
            <a:off x="5724080" y="5462306"/>
            <a:ext cx="1704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</a:t>
            </a:r>
            <a:r>
              <a:rPr kumimoji="0" lang="en-US" b="1" i="0" u="none" strike="noStrike" kern="1200" cap="none" spc="0" normalizeH="0" baseline="-2500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nm) – 0.14</a:t>
            </a:r>
          </a:p>
        </p:txBody>
      </p:sp>
      <p:sp>
        <p:nvSpPr>
          <p:cNvPr id="43" name="TextBox 58">
            <a:extLst>
              <a:ext uri="{FF2B5EF4-FFF2-40B4-BE49-F238E27FC236}">
                <a16:creationId xmlns:a16="http://schemas.microsoft.com/office/drawing/2014/main" id="{C333D795-0D08-A8C7-6A03-909760FC13A3}"/>
              </a:ext>
            </a:extLst>
          </p:cNvPr>
          <p:cNvSpPr txBox="1"/>
          <p:nvPr/>
        </p:nvSpPr>
        <p:spPr>
          <a:xfrm>
            <a:off x="9403898" y="5462306"/>
            <a:ext cx="1704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</a:t>
            </a:r>
            <a:r>
              <a:rPr kumimoji="0" lang="en-US" b="1" i="0" u="none" strike="noStrike" kern="1200" cap="none" spc="0" normalizeH="0" baseline="-2500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nm) – 0.12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0148AEE-3FC5-991C-6A8C-F66C86EDB9D3}"/>
              </a:ext>
            </a:extLst>
          </p:cNvPr>
          <p:cNvSpPr/>
          <p:nvPr/>
        </p:nvSpPr>
        <p:spPr>
          <a:xfrm>
            <a:off x="346721" y="2489199"/>
            <a:ext cx="7699999" cy="3495041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D20A338-E015-A057-4AF7-37CC0CD126C8}"/>
              </a:ext>
            </a:extLst>
          </p:cNvPr>
          <p:cNvSpPr/>
          <p:nvPr/>
        </p:nvSpPr>
        <p:spPr>
          <a:xfrm>
            <a:off x="8453120" y="2489199"/>
            <a:ext cx="3392159" cy="3495041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4" name="Gerader Verbinder 51">
            <a:extLst>
              <a:ext uri="{FF2B5EF4-FFF2-40B4-BE49-F238E27FC236}">
                <a16:creationId xmlns:a16="http://schemas.microsoft.com/office/drawing/2014/main" id="{468FC221-5D54-748B-07D5-067AAC42CE32}"/>
              </a:ext>
            </a:extLst>
          </p:cNvPr>
          <p:cNvCxnSpPr>
            <a:cxnSpLocks/>
          </p:cNvCxnSpPr>
          <p:nvPr/>
        </p:nvCxnSpPr>
        <p:spPr>
          <a:xfrm>
            <a:off x="8249920" y="2489199"/>
            <a:ext cx="0" cy="349504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7082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919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9" imgH="330" progId="TCLayout.ActiveDocument.1">
                  <p:embed/>
                </p:oleObj>
              </mc:Choice>
              <mc:Fallback>
                <p:oleObj name="think-cell Folie" r:id="rId3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400" y="127001"/>
            <a:ext cx="9579599" cy="753532"/>
          </a:xfrm>
        </p:spPr>
        <p:txBody>
          <a:bodyPr vert="horz"/>
          <a:lstStyle/>
          <a:p>
            <a:r>
              <a:rPr lang="en-GB" sz="3200" dirty="0">
                <a:solidFill>
                  <a:schemeClr val="accent2"/>
                </a:solidFill>
              </a:rPr>
              <a:t>Device Validation – MPD &amp; MOSFETs</a:t>
            </a:r>
            <a:endParaRPr lang="en-US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5129402-D085-CD72-48BE-04C2454EBE3F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10</a:t>
            </a:fld>
            <a:endParaRPr lang="en-GB" sz="1200" dirty="0">
              <a:solidFill>
                <a:schemeClr val="accent2"/>
              </a:solidFill>
            </a:endParaRPr>
          </a:p>
        </p:txBody>
      </p:sp>
      <p:grpSp>
        <p:nvGrpSpPr>
          <p:cNvPr id="11" name="Group 9">
            <a:extLst>
              <a:ext uri="{FF2B5EF4-FFF2-40B4-BE49-F238E27FC236}">
                <a16:creationId xmlns:a16="http://schemas.microsoft.com/office/drawing/2014/main" id="{10480315-DF36-B48E-5220-5D903635FB7A}"/>
              </a:ext>
            </a:extLst>
          </p:cNvPr>
          <p:cNvGrpSpPr/>
          <p:nvPr/>
        </p:nvGrpSpPr>
        <p:grpSpPr>
          <a:xfrm>
            <a:off x="326401" y="1583642"/>
            <a:ext cx="11544891" cy="1076623"/>
            <a:chOff x="2063552" y="1146756"/>
            <a:chExt cx="8939060" cy="770076"/>
          </a:xfrm>
        </p:grpSpPr>
        <p:sp>
          <p:nvSpPr>
            <p:cNvPr id="16" name="Arrow: Chevron 10">
              <a:extLst>
                <a:ext uri="{FF2B5EF4-FFF2-40B4-BE49-F238E27FC236}">
                  <a16:creationId xmlns:a16="http://schemas.microsoft.com/office/drawing/2014/main" id="{DEDF3AF9-4FD5-AF8A-2924-19F188302B17}"/>
                </a:ext>
              </a:extLst>
            </p:cNvPr>
            <p:cNvSpPr/>
            <p:nvPr/>
          </p:nvSpPr>
          <p:spPr bwMode="auto">
            <a:xfrm>
              <a:off x="4299156" y="1163300"/>
              <a:ext cx="2232248" cy="753532"/>
            </a:xfrm>
            <a:prstGeom prst="chevron">
              <a:avLst>
                <a:gd name="adj" fmla="val 25333"/>
              </a:avLst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000" b="1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SiC</a:t>
              </a:r>
              <a:r>
                <a:rPr lang="en-US" sz="20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 Epi growth</a:t>
              </a:r>
            </a:p>
          </p:txBody>
        </p:sp>
        <p:sp>
          <p:nvSpPr>
            <p:cNvPr id="20" name="Arrow: Chevron 11">
              <a:extLst>
                <a:ext uri="{FF2B5EF4-FFF2-40B4-BE49-F238E27FC236}">
                  <a16:creationId xmlns:a16="http://schemas.microsoft.com/office/drawing/2014/main" id="{3F7752C5-F287-70BB-D5D7-287F2162BEA5}"/>
                </a:ext>
              </a:extLst>
            </p:cNvPr>
            <p:cNvSpPr/>
            <p:nvPr/>
          </p:nvSpPr>
          <p:spPr bwMode="auto">
            <a:xfrm>
              <a:off x="2063552" y="1157786"/>
              <a:ext cx="2232248" cy="753530"/>
            </a:xfrm>
            <a:prstGeom prst="chevron">
              <a:avLst>
                <a:gd name="adj" fmla="val 25333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Plasma Polish &amp; </a:t>
              </a:r>
              <a:b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CMP Substrates (</a:t>
              </a:r>
              <a:r>
                <a:rPr lang="en-US" sz="20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Wolfspeed</a:t>
              </a:r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)</a:t>
              </a:r>
            </a:p>
          </p:txBody>
        </p:sp>
        <p:sp>
          <p:nvSpPr>
            <p:cNvPr id="21" name="Arrow: Chevron 12">
              <a:extLst>
                <a:ext uri="{FF2B5EF4-FFF2-40B4-BE49-F238E27FC236}">
                  <a16:creationId xmlns:a16="http://schemas.microsoft.com/office/drawing/2014/main" id="{15542795-9222-0BAD-43E0-F2749D4C8392}"/>
                </a:ext>
              </a:extLst>
            </p:cNvPr>
            <p:cNvSpPr/>
            <p:nvPr/>
          </p:nvSpPr>
          <p:spPr bwMode="auto">
            <a:xfrm>
              <a:off x="6534760" y="1152271"/>
              <a:ext cx="2232248" cy="753532"/>
            </a:xfrm>
            <a:prstGeom prst="chevron">
              <a:avLst>
                <a:gd name="adj" fmla="val 25333"/>
              </a:avLst>
            </a:prstGeom>
            <a:solidFill>
              <a:schemeClr val="accent6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0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Optical/PL Inspection</a:t>
              </a:r>
            </a:p>
          </p:txBody>
        </p:sp>
        <p:sp>
          <p:nvSpPr>
            <p:cNvPr id="22" name="Arrow: Chevron 13">
              <a:extLst>
                <a:ext uri="{FF2B5EF4-FFF2-40B4-BE49-F238E27FC236}">
                  <a16:creationId xmlns:a16="http://schemas.microsoft.com/office/drawing/2014/main" id="{AA330C38-5C32-8391-63D1-8619FCEA5138}"/>
                </a:ext>
              </a:extLst>
            </p:cNvPr>
            <p:cNvSpPr/>
            <p:nvPr/>
          </p:nvSpPr>
          <p:spPr bwMode="auto">
            <a:xfrm>
              <a:off x="8770364" y="1146756"/>
              <a:ext cx="2232248" cy="753532"/>
            </a:xfrm>
            <a:prstGeom prst="chevron">
              <a:avLst>
                <a:gd name="adj" fmla="val 25333"/>
              </a:avLst>
            </a:prstGeom>
            <a:solidFill>
              <a:schemeClr val="accent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0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MPD/MOSFETS</a:t>
              </a:r>
            </a:p>
          </p:txBody>
        </p:sp>
      </p:grpSp>
      <p:sp>
        <p:nvSpPr>
          <p:cNvPr id="23" name="Subtitle 2">
            <a:extLst>
              <a:ext uri="{FF2B5EF4-FFF2-40B4-BE49-F238E27FC236}">
                <a16:creationId xmlns:a16="http://schemas.microsoft.com/office/drawing/2014/main" id="{ED374AF4-A4EF-5881-6849-96BC674D5C58}"/>
              </a:ext>
            </a:extLst>
          </p:cNvPr>
          <p:cNvSpPr txBox="1">
            <a:spLocks/>
          </p:cNvSpPr>
          <p:nvPr/>
        </p:nvSpPr>
        <p:spPr>
          <a:xfrm>
            <a:off x="256368" y="2789535"/>
            <a:ext cx="11024269" cy="222409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Oxford Raleway" pitchFamily="2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Century Gothic" panose="020B0502020202020204" pitchFamily="34" charset="0"/>
              </a:rPr>
              <a:t>150mm Wafers - </a:t>
            </a:r>
            <a:r>
              <a:rPr lang="en-US" sz="18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Wolfspeed</a:t>
            </a:r>
            <a:endParaRPr lang="en-US" sz="18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Century Gothic" panose="020B0502020202020204" pitchFamily="34" charset="0"/>
              </a:rPr>
              <a:t>Plasma Polish ↔ Chemical and Mechanical Polish (CMP)</a:t>
            </a:r>
          </a:p>
          <a:p>
            <a:pPr marL="266700" indent="-26670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Century Gothic" panose="020B0502020202020204" pitchFamily="34" charset="0"/>
              </a:rPr>
              <a:t>Merged pin Diodes (MPD) operating at 1200V and 10 A and dies area of 2.4x2.4mm</a:t>
            </a:r>
            <a:r>
              <a:rPr lang="en-US" sz="1800" b="1" baseline="30000" dirty="0">
                <a:solidFill>
                  <a:schemeClr val="tx1"/>
                </a:solidFill>
                <a:latin typeface="Century Gothic" panose="020B0502020202020204" pitchFamily="34" charset="0"/>
              </a:rPr>
              <a:t>2</a:t>
            </a:r>
          </a:p>
          <a:p>
            <a:pPr marL="541338" indent="-2667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Comparison between 2 CMP and 2 Plasma Polish wafers</a:t>
            </a:r>
          </a:p>
          <a:p>
            <a:pPr marL="266700" indent="-26670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Century Gothic" panose="020B0502020202020204" pitchFamily="34" charset="0"/>
              </a:rPr>
              <a:t>MOSFETS operating at 80m</a:t>
            </a:r>
            <a:r>
              <a:rPr lang="en-US" sz="1800" b="1" dirty="0">
                <a:solidFill>
                  <a:schemeClr val="tx1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, 1200V</a:t>
            </a:r>
            <a:r>
              <a:rPr lang="en-US" sz="18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and a dies area of 2.83x2.83 mm</a:t>
            </a:r>
            <a:r>
              <a:rPr lang="en-US" sz="1800" b="1" baseline="30000" dirty="0">
                <a:solidFill>
                  <a:schemeClr val="tx1"/>
                </a:solidFill>
                <a:latin typeface="Century Gothic" panose="020B0502020202020204" pitchFamily="34" charset="0"/>
              </a:rPr>
              <a:t>2</a:t>
            </a:r>
            <a:r>
              <a:rPr lang="en-US" sz="18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</a:p>
          <a:p>
            <a:pPr marL="541338" indent="-2667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Comparison between 3 CMP wafers and 3 Plasma Polish wafers</a:t>
            </a:r>
          </a:p>
        </p:txBody>
      </p:sp>
    </p:spTree>
    <p:extLst>
      <p:ext uri="{BB962C8B-B14F-4D97-AF65-F5344CB8AC3E}">
        <p14:creationId xmlns:p14="http://schemas.microsoft.com/office/powerpoint/2010/main" val="6696774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07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9" imgH="330" progId="TCLayout.ActiveDocument.1">
                  <p:embed/>
                </p:oleObj>
              </mc:Choice>
              <mc:Fallback>
                <p:oleObj name="think-cell Folie" r:id="rId3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Picture 12" descr="Chart, scatter chart, bubble chart&#10;&#10;Description automatically generated">
            <a:extLst>
              <a:ext uri="{FF2B5EF4-FFF2-40B4-BE49-F238E27FC236}">
                <a16:creationId xmlns:a16="http://schemas.microsoft.com/office/drawing/2014/main" id="{097DD608-5783-8275-18BD-11C40A73451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2" t="14933" r="29254" b="9924"/>
          <a:stretch/>
        </p:blipFill>
        <p:spPr>
          <a:xfrm>
            <a:off x="5888443" y="4387229"/>
            <a:ext cx="1572297" cy="1582574"/>
          </a:xfrm>
          <a:prstGeom prst="rect">
            <a:avLst/>
          </a:prstGeom>
        </p:spPr>
      </p:pic>
      <p:pic>
        <p:nvPicPr>
          <p:cNvPr id="48" name="Picture 13" descr="Chart, scatter chart&#10;&#10;Description automatically generated">
            <a:extLst>
              <a:ext uri="{FF2B5EF4-FFF2-40B4-BE49-F238E27FC236}">
                <a16:creationId xmlns:a16="http://schemas.microsoft.com/office/drawing/2014/main" id="{54451C1B-01A7-3A25-4C2F-8D0E9FC8CEA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9" t="12783" r="26591" b="15582"/>
          <a:stretch/>
        </p:blipFill>
        <p:spPr>
          <a:xfrm>
            <a:off x="2162734" y="4427563"/>
            <a:ext cx="1572297" cy="1542240"/>
          </a:xfrm>
          <a:prstGeom prst="rect">
            <a:avLst/>
          </a:prstGeom>
        </p:spPr>
      </p:pic>
      <p:pic>
        <p:nvPicPr>
          <p:cNvPr id="49" name="Picture 15" descr="Chart, scatter chart&#10;&#10;Description automatically generated">
            <a:extLst>
              <a:ext uri="{FF2B5EF4-FFF2-40B4-BE49-F238E27FC236}">
                <a16:creationId xmlns:a16="http://schemas.microsoft.com/office/drawing/2014/main" id="{90AD9D05-8CD5-F94D-3E33-CCDF6FC8C02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7" t="15554" r="26867" b="11055"/>
          <a:stretch/>
        </p:blipFill>
        <p:spPr>
          <a:xfrm>
            <a:off x="3815470" y="4427348"/>
            <a:ext cx="1572297" cy="1542455"/>
          </a:xfrm>
          <a:prstGeom prst="rect">
            <a:avLst/>
          </a:prstGeom>
        </p:spPr>
      </p:pic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9626DDC1-4D6E-7DA1-B5F7-0FBC409F1063}"/>
              </a:ext>
            </a:extLst>
          </p:cNvPr>
          <p:cNvGrpSpPr/>
          <p:nvPr/>
        </p:nvGrpSpPr>
        <p:grpSpPr>
          <a:xfrm>
            <a:off x="7597507" y="4394454"/>
            <a:ext cx="1640103" cy="1575349"/>
            <a:chOff x="8318718" y="4255715"/>
            <a:chExt cx="1877626" cy="1803494"/>
          </a:xfrm>
        </p:grpSpPr>
        <p:pic>
          <p:nvPicPr>
            <p:cNvPr id="51" name="Picture 11" descr="Chart, scatter chart, bubble chart&#10;&#10;Description automatically generated">
              <a:extLst>
                <a:ext uri="{FF2B5EF4-FFF2-40B4-BE49-F238E27FC236}">
                  <a16:creationId xmlns:a16="http://schemas.microsoft.com/office/drawing/2014/main" id="{99AEFBEC-294C-A581-29C3-032D2559CE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69" t="14322" r="28844" b="13052"/>
            <a:stretch/>
          </p:blipFill>
          <p:spPr>
            <a:xfrm flipH="1">
              <a:off x="8318718" y="4255715"/>
              <a:ext cx="1800000" cy="1803494"/>
            </a:xfrm>
            <a:prstGeom prst="rect">
              <a:avLst/>
            </a:prstGeom>
          </p:spPr>
        </p:pic>
        <p:sp>
          <p:nvSpPr>
            <p:cNvPr id="52" name="Oval 27">
              <a:extLst>
                <a:ext uri="{FF2B5EF4-FFF2-40B4-BE49-F238E27FC236}">
                  <a16:creationId xmlns:a16="http://schemas.microsoft.com/office/drawing/2014/main" id="{9E589E21-483E-BD93-2925-DFAC9C38E2F4}"/>
                </a:ext>
              </a:extLst>
            </p:cNvPr>
            <p:cNvSpPr/>
            <p:nvPr/>
          </p:nvSpPr>
          <p:spPr>
            <a:xfrm>
              <a:off x="9376375" y="4497595"/>
              <a:ext cx="819969" cy="1341308"/>
            </a:xfrm>
            <a:prstGeom prst="ellipse">
              <a:avLst/>
            </a:prstGeom>
            <a:noFill/>
            <a:ln w="19050">
              <a:solidFill>
                <a:srgbClr val="151F6D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39" name="Picture 11" descr="A picture containing diagram&#10;&#10;Description automatically generated">
            <a:extLst>
              <a:ext uri="{FF2B5EF4-FFF2-40B4-BE49-F238E27FC236}">
                <a16:creationId xmlns:a16="http://schemas.microsoft.com/office/drawing/2014/main" id="{2D59C48C-03F1-110F-A2F4-06F416DDAE8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25" t="14640" r="31952" b="9392"/>
          <a:stretch/>
        </p:blipFill>
        <p:spPr>
          <a:xfrm>
            <a:off x="5893212" y="2299073"/>
            <a:ext cx="1567528" cy="1557284"/>
          </a:xfrm>
          <a:prstGeom prst="rect">
            <a:avLst/>
          </a:prstGeom>
        </p:spPr>
      </p:pic>
      <p:pic>
        <p:nvPicPr>
          <p:cNvPr id="41" name="Picture 22">
            <a:extLst>
              <a:ext uri="{FF2B5EF4-FFF2-40B4-BE49-F238E27FC236}">
                <a16:creationId xmlns:a16="http://schemas.microsoft.com/office/drawing/2014/main" id="{0F216AA2-9D8F-6D85-C707-FDD2B0542BB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575" t="13103" r="67466" b="17006"/>
          <a:stretch/>
        </p:blipFill>
        <p:spPr>
          <a:xfrm>
            <a:off x="2078908" y="2321485"/>
            <a:ext cx="1567528" cy="1534872"/>
          </a:xfrm>
          <a:prstGeom prst="rect">
            <a:avLst/>
          </a:prstGeom>
        </p:spPr>
      </p:pic>
      <p:pic>
        <p:nvPicPr>
          <p:cNvPr id="42" name="Picture 23">
            <a:extLst>
              <a:ext uri="{FF2B5EF4-FFF2-40B4-BE49-F238E27FC236}">
                <a16:creationId xmlns:a16="http://schemas.microsoft.com/office/drawing/2014/main" id="{8E8EB9E2-F42D-D4A7-C180-8044AA32708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884" t="17118" r="30981" b="9266"/>
          <a:stretch/>
        </p:blipFill>
        <p:spPr>
          <a:xfrm>
            <a:off x="3815470" y="2305372"/>
            <a:ext cx="1567528" cy="1550985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D36ACBA8-5DA3-23C9-BEE3-20DF732BAA3F}"/>
              </a:ext>
            </a:extLst>
          </p:cNvPr>
          <p:cNvGrpSpPr/>
          <p:nvPr/>
        </p:nvGrpSpPr>
        <p:grpSpPr>
          <a:xfrm>
            <a:off x="7533544" y="2278425"/>
            <a:ext cx="1635129" cy="1577932"/>
            <a:chOff x="8189449" y="-1826337"/>
            <a:chExt cx="1877626" cy="1811946"/>
          </a:xfrm>
        </p:grpSpPr>
        <p:pic>
          <p:nvPicPr>
            <p:cNvPr id="40" name="Picture 15">
              <a:extLst>
                <a:ext uri="{FF2B5EF4-FFF2-40B4-BE49-F238E27FC236}">
                  <a16:creationId xmlns:a16="http://schemas.microsoft.com/office/drawing/2014/main" id="{C2BEDF77-8C87-C913-736F-48A29FB3A7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1344" t="10190" r="31278" b="9198"/>
            <a:stretch/>
          </p:blipFill>
          <p:spPr>
            <a:xfrm flipH="1">
              <a:off x="8189449" y="-1826337"/>
              <a:ext cx="1800000" cy="1811946"/>
            </a:xfrm>
            <a:prstGeom prst="rect">
              <a:avLst/>
            </a:prstGeom>
          </p:spPr>
        </p:pic>
        <p:sp>
          <p:nvSpPr>
            <p:cNvPr id="44" name="Oval 35">
              <a:extLst>
                <a:ext uri="{FF2B5EF4-FFF2-40B4-BE49-F238E27FC236}">
                  <a16:creationId xmlns:a16="http://schemas.microsoft.com/office/drawing/2014/main" id="{8271BBF3-FFE0-2321-4F3E-A021D7BF097B}"/>
                </a:ext>
              </a:extLst>
            </p:cNvPr>
            <p:cNvSpPr/>
            <p:nvPr/>
          </p:nvSpPr>
          <p:spPr>
            <a:xfrm>
              <a:off x="9247106" y="-1600767"/>
              <a:ext cx="819969" cy="1341308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400" y="127001"/>
            <a:ext cx="9579599" cy="753532"/>
          </a:xfrm>
        </p:spPr>
        <p:txBody>
          <a:bodyPr vert="horz"/>
          <a:lstStyle/>
          <a:p>
            <a:r>
              <a:rPr lang="en-GB" sz="3200" dirty="0">
                <a:solidFill>
                  <a:srgbClr val="002060"/>
                </a:solidFill>
                <a:cs typeface="Arial" panose="020B0604020202020204" pitchFamily="34" charset="0"/>
              </a:rPr>
              <a:t>Device Validation – Merged pin Diodes Yields</a:t>
            </a:r>
            <a:endParaRPr lang="en-US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5129402-D085-CD72-48BE-04C2454EBE3F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11</a:t>
            </a:fld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5" name="Content Placeholder 25">
            <a:extLst>
              <a:ext uri="{FF2B5EF4-FFF2-40B4-BE49-F238E27FC236}">
                <a16:creationId xmlns:a16="http://schemas.microsoft.com/office/drawing/2014/main" id="{6D1BCA4E-FBFF-271F-63BC-46386D0E4034}"/>
              </a:ext>
            </a:extLst>
          </p:cNvPr>
          <p:cNvSpPr txBox="1">
            <a:spLocks/>
          </p:cNvSpPr>
          <p:nvPr/>
        </p:nvSpPr>
        <p:spPr>
          <a:xfrm>
            <a:off x="299506" y="1260992"/>
            <a:ext cx="11561866" cy="419750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chemeClr val="accent1"/>
              </a:buClr>
              <a:buSzPct val="70000"/>
              <a:buFont typeface="Oxford Raleway" pitchFamily="2" charset="0"/>
              <a:buChar char="•"/>
              <a:defRPr sz="2400" kern="120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Oxford Raleway" pitchFamily="2" charset="0"/>
              <a:buChar char="•"/>
              <a:defRPr sz="2000" kern="1200">
                <a:solidFill>
                  <a:schemeClr val="accent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6"/>
              </a:buClr>
              <a:buSzPct val="70000"/>
              <a:buFont typeface="Oxford Raleway" pitchFamily="2" charset="0"/>
              <a:buChar char="•"/>
              <a:defRPr sz="180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b="1" dirty="0">
                <a:solidFill>
                  <a:schemeClr val="accent2"/>
                </a:solidFill>
              </a:rPr>
              <a:t>Sub-surface damage and it’s yield impact observed in a production grade substrate supplied by a leading supplier</a:t>
            </a:r>
          </a:p>
        </p:txBody>
      </p:sp>
      <p:sp>
        <p:nvSpPr>
          <p:cNvPr id="6" name="Rechteck 2">
            <a:extLst>
              <a:ext uri="{FF2B5EF4-FFF2-40B4-BE49-F238E27FC236}">
                <a16:creationId xmlns:a16="http://schemas.microsoft.com/office/drawing/2014/main" id="{6DEB2E7D-2542-E5E5-3DE5-03D995B2794F}"/>
              </a:ext>
            </a:extLst>
          </p:cNvPr>
          <p:cNvSpPr/>
          <p:nvPr/>
        </p:nvSpPr>
        <p:spPr>
          <a:xfrm>
            <a:off x="2004616" y="2263197"/>
            <a:ext cx="3471624" cy="158555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Rechteck 2">
            <a:extLst>
              <a:ext uri="{FF2B5EF4-FFF2-40B4-BE49-F238E27FC236}">
                <a16:creationId xmlns:a16="http://schemas.microsoft.com/office/drawing/2014/main" id="{C90A1DD0-D913-FDAD-B2E7-4A1BCB39C36E}"/>
              </a:ext>
            </a:extLst>
          </p:cNvPr>
          <p:cNvSpPr/>
          <p:nvPr/>
        </p:nvSpPr>
        <p:spPr>
          <a:xfrm>
            <a:off x="5814615" y="2263197"/>
            <a:ext cx="3471624" cy="158555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Rechteck 2">
            <a:extLst>
              <a:ext uri="{FF2B5EF4-FFF2-40B4-BE49-F238E27FC236}">
                <a16:creationId xmlns:a16="http://schemas.microsoft.com/office/drawing/2014/main" id="{650EA2EB-E100-2FAB-8F17-CA3B2753A5DC}"/>
              </a:ext>
            </a:extLst>
          </p:cNvPr>
          <p:cNvSpPr/>
          <p:nvPr/>
        </p:nvSpPr>
        <p:spPr>
          <a:xfrm>
            <a:off x="2004616" y="4377215"/>
            <a:ext cx="3471624" cy="158555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Rechteck 2">
            <a:extLst>
              <a:ext uri="{FF2B5EF4-FFF2-40B4-BE49-F238E27FC236}">
                <a16:creationId xmlns:a16="http://schemas.microsoft.com/office/drawing/2014/main" id="{32CFE589-1A72-03D4-9313-C1F3CED4DAAD}"/>
              </a:ext>
            </a:extLst>
          </p:cNvPr>
          <p:cNvSpPr/>
          <p:nvPr/>
        </p:nvSpPr>
        <p:spPr>
          <a:xfrm>
            <a:off x="5814615" y="4377215"/>
            <a:ext cx="3471624" cy="158555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2" name="Gerader Verbinder 51">
            <a:extLst>
              <a:ext uri="{FF2B5EF4-FFF2-40B4-BE49-F238E27FC236}">
                <a16:creationId xmlns:a16="http://schemas.microsoft.com/office/drawing/2014/main" id="{CE40433C-7240-E835-BEC4-A7EB0FC934C4}"/>
              </a:ext>
            </a:extLst>
          </p:cNvPr>
          <p:cNvCxnSpPr>
            <a:cxnSpLocks/>
          </p:cNvCxnSpPr>
          <p:nvPr/>
        </p:nvCxnSpPr>
        <p:spPr>
          <a:xfrm>
            <a:off x="5648960" y="2274687"/>
            <a:ext cx="0" cy="161172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51">
            <a:extLst>
              <a:ext uri="{FF2B5EF4-FFF2-40B4-BE49-F238E27FC236}">
                <a16:creationId xmlns:a16="http://schemas.microsoft.com/office/drawing/2014/main" id="{9B858E57-E323-000D-B37B-17922A6C16D6}"/>
              </a:ext>
            </a:extLst>
          </p:cNvPr>
          <p:cNvCxnSpPr>
            <a:cxnSpLocks/>
          </p:cNvCxnSpPr>
          <p:nvPr/>
        </p:nvCxnSpPr>
        <p:spPr>
          <a:xfrm>
            <a:off x="5648960" y="4377215"/>
            <a:ext cx="0" cy="157406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51">
            <a:extLst>
              <a:ext uri="{FF2B5EF4-FFF2-40B4-BE49-F238E27FC236}">
                <a16:creationId xmlns:a16="http://schemas.microsoft.com/office/drawing/2014/main" id="{7A3CEC84-4915-0B91-146D-6221945B5421}"/>
              </a:ext>
            </a:extLst>
          </p:cNvPr>
          <p:cNvCxnSpPr>
            <a:cxnSpLocks/>
          </p:cNvCxnSpPr>
          <p:nvPr/>
        </p:nvCxnSpPr>
        <p:spPr>
          <a:xfrm>
            <a:off x="2004616" y="4214655"/>
            <a:ext cx="347162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51">
            <a:extLst>
              <a:ext uri="{FF2B5EF4-FFF2-40B4-BE49-F238E27FC236}">
                <a16:creationId xmlns:a16="http://schemas.microsoft.com/office/drawing/2014/main" id="{D601150A-560E-8BFC-C0CE-659B329AF810}"/>
              </a:ext>
            </a:extLst>
          </p:cNvPr>
          <p:cNvCxnSpPr>
            <a:cxnSpLocks/>
          </p:cNvCxnSpPr>
          <p:nvPr/>
        </p:nvCxnSpPr>
        <p:spPr>
          <a:xfrm>
            <a:off x="5814615" y="4214655"/>
            <a:ext cx="347162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8">
            <a:extLst>
              <a:ext uri="{FF2B5EF4-FFF2-40B4-BE49-F238E27FC236}">
                <a16:creationId xmlns:a16="http://schemas.microsoft.com/office/drawing/2014/main" id="{93707C35-EEA9-5E88-16C9-B9EB3B710CB5}"/>
              </a:ext>
            </a:extLst>
          </p:cNvPr>
          <p:cNvSpPr txBox="1"/>
          <p:nvPr/>
        </p:nvSpPr>
        <p:spPr>
          <a:xfrm>
            <a:off x="1778001" y="6014346"/>
            <a:ext cx="187068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latin typeface="Century Gothic" panose="020B0502020202020204" pitchFamily="34" charset="0"/>
              </a:rPr>
              <a:t>92% Dies </a:t>
            </a:r>
            <a:r>
              <a:rPr lang="de-DE" sz="1400" b="1" dirty="0" err="1">
                <a:latin typeface="Century Gothic" panose="020B0502020202020204" pitchFamily="34" charset="0"/>
              </a:rPr>
              <a:t>passed</a:t>
            </a:r>
            <a:endParaRPr lang="de-DE" sz="1400" b="1" dirty="0">
              <a:latin typeface="Century Gothic" panose="020B0502020202020204" pitchFamily="34" charset="0"/>
            </a:endParaRPr>
          </a:p>
        </p:txBody>
      </p:sp>
      <p:sp>
        <p:nvSpPr>
          <p:cNvPr id="26" name="TextBox 8">
            <a:extLst>
              <a:ext uri="{FF2B5EF4-FFF2-40B4-BE49-F238E27FC236}">
                <a16:creationId xmlns:a16="http://schemas.microsoft.com/office/drawing/2014/main" id="{738C1252-0F5A-323C-FBC8-634B630F2289}"/>
              </a:ext>
            </a:extLst>
          </p:cNvPr>
          <p:cNvSpPr txBox="1"/>
          <p:nvPr/>
        </p:nvSpPr>
        <p:spPr>
          <a:xfrm>
            <a:off x="3818171" y="6017391"/>
            <a:ext cx="187068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>
                <a:latin typeface="Century Gothic" panose="020B0502020202020204" pitchFamily="34" charset="0"/>
              </a:rPr>
              <a:t>93% Dies passed</a:t>
            </a:r>
          </a:p>
        </p:txBody>
      </p:sp>
      <p:sp>
        <p:nvSpPr>
          <p:cNvPr id="27" name="TextBox 8">
            <a:extLst>
              <a:ext uri="{FF2B5EF4-FFF2-40B4-BE49-F238E27FC236}">
                <a16:creationId xmlns:a16="http://schemas.microsoft.com/office/drawing/2014/main" id="{2218CEC7-F689-BB8F-311C-9CE64796A5C7}"/>
              </a:ext>
            </a:extLst>
          </p:cNvPr>
          <p:cNvSpPr txBox="1"/>
          <p:nvPr/>
        </p:nvSpPr>
        <p:spPr>
          <a:xfrm>
            <a:off x="3740405" y="3886413"/>
            <a:ext cx="187068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>
                <a:latin typeface="Century Gothic" panose="020B0502020202020204" pitchFamily="34" charset="0"/>
              </a:rPr>
              <a:t>97% Dies </a:t>
            </a:r>
            <a:r>
              <a:rPr lang="de-DE" sz="1400" b="1" err="1">
                <a:latin typeface="Century Gothic" panose="020B0502020202020204" pitchFamily="34" charset="0"/>
              </a:rPr>
              <a:t>passed</a:t>
            </a:r>
            <a:endParaRPr lang="de-DE" sz="1400" b="1">
              <a:latin typeface="Century Gothic" panose="020B0502020202020204" pitchFamily="34" charset="0"/>
            </a:endParaRPr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6C67A086-1C0C-D718-BED7-967DDF7FBDAA}"/>
              </a:ext>
            </a:extLst>
          </p:cNvPr>
          <p:cNvSpPr txBox="1"/>
          <p:nvPr/>
        </p:nvSpPr>
        <p:spPr>
          <a:xfrm>
            <a:off x="1869719" y="3886413"/>
            <a:ext cx="187068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>
                <a:latin typeface="Century Gothic" panose="020B0502020202020204" pitchFamily="34" charset="0"/>
              </a:rPr>
              <a:t>97% Dies passed</a:t>
            </a:r>
          </a:p>
        </p:txBody>
      </p:sp>
      <p:sp>
        <p:nvSpPr>
          <p:cNvPr id="29" name="TextBox 8">
            <a:extLst>
              <a:ext uri="{FF2B5EF4-FFF2-40B4-BE49-F238E27FC236}">
                <a16:creationId xmlns:a16="http://schemas.microsoft.com/office/drawing/2014/main" id="{725F2E51-FE18-C19C-DB11-658DE699037C}"/>
              </a:ext>
            </a:extLst>
          </p:cNvPr>
          <p:cNvSpPr txBox="1"/>
          <p:nvPr/>
        </p:nvSpPr>
        <p:spPr>
          <a:xfrm>
            <a:off x="5641894" y="6019599"/>
            <a:ext cx="187068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>
                <a:latin typeface="Century Gothic" panose="020B0502020202020204" pitchFamily="34" charset="0"/>
              </a:rPr>
              <a:t>94% Dies </a:t>
            </a:r>
            <a:r>
              <a:rPr lang="de-DE" sz="1400" b="1" err="1">
                <a:latin typeface="Century Gothic" panose="020B0502020202020204" pitchFamily="34" charset="0"/>
              </a:rPr>
              <a:t>passed</a:t>
            </a:r>
            <a:endParaRPr lang="de-DE" sz="1400" b="1">
              <a:latin typeface="Century Gothic" panose="020B0502020202020204" pitchFamily="34" charset="0"/>
            </a:endParaRPr>
          </a:p>
        </p:txBody>
      </p:sp>
      <p:sp>
        <p:nvSpPr>
          <p:cNvPr id="30" name="TextBox 8">
            <a:extLst>
              <a:ext uri="{FF2B5EF4-FFF2-40B4-BE49-F238E27FC236}">
                <a16:creationId xmlns:a16="http://schemas.microsoft.com/office/drawing/2014/main" id="{3D239F03-2707-D9D1-E445-6A7BE8AA9B6D}"/>
              </a:ext>
            </a:extLst>
          </p:cNvPr>
          <p:cNvSpPr txBox="1"/>
          <p:nvPr/>
        </p:nvSpPr>
        <p:spPr>
          <a:xfrm>
            <a:off x="7427400" y="6015083"/>
            <a:ext cx="187068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>
                <a:latin typeface="Century Gothic" panose="020B0502020202020204" pitchFamily="34" charset="0"/>
              </a:rPr>
              <a:t>89% Dies </a:t>
            </a:r>
            <a:r>
              <a:rPr lang="de-DE" sz="1400" b="1" err="1">
                <a:latin typeface="Century Gothic" panose="020B0502020202020204" pitchFamily="34" charset="0"/>
              </a:rPr>
              <a:t>passed</a:t>
            </a:r>
            <a:endParaRPr lang="de-DE" sz="1400" b="1">
              <a:latin typeface="Century Gothic" panose="020B0502020202020204" pitchFamily="34" charset="0"/>
            </a:endParaRPr>
          </a:p>
        </p:txBody>
      </p:sp>
      <p:sp>
        <p:nvSpPr>
          <p:cNvPr id="31" name="TextBox 8">
            <a:extLst>
              <a:ext uri="{FF2B5EF4-FFF2-40B4-BE49-F238E27FC236}">
                <a16:creationId xmlns:a16="http://schemas.microsoft.com/office/drawing/2014/main" id="{35672959-D86B-4A49-79E7-9BE9FD560187}"/>
              </a:ext>
            </a:extLst>
          </p:cNvPr>
          <p:cNvSpPr txBox="1"/>
          <p:nvPr/>
        </p:nvSpPr>
        <p:spPr>
          <a:xfrm>
            <a:off x="5593313" y="3886413"/>
            <a:ext cx="187068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latin typeface="Century Gothic" panose="020B0502020202020204" pitchFamily="34" charset="0"/>
              </a:rPr>
              <a:t>97% Dies </a:t>
            </a:r>
            <a:r>
              <a:rPr lang="de-DE" sz="1400" b="1" dirty="0" err="1">
                <a:latin typeface="Century Gothic" panose="020B0502020202020204" pitchFamily="34" charset="0"/>
              </a:rPr>
              <a:t>passed</a:t>
            </a:r>
            <a:endParaRPr lang="de-DE" sz="1400" b="1" dirty="0">
              <a:latin typeface="Century Gothic" panose="020B0502020202020204" pitchFamily="34" charset="0"/>
            </a:endParaRPr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B66D96FF-1C28-B98C-1E87-6DBC0710BA0B}"/>
              </a:ext>
            </a:extLst>
          </p:cNvPr>
          <p:cNvSpPr txBox="1"/>
          <p:nvPr/>
        </p:nvSpPr>
        <p:spPr>
          <a:xfrm>
            <a:off x="7407840" y="3886413"/>
            <a:ext cx="187068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latin typeface="Century Gothic" panose="020B0502020202020204" pitchFamily="34" charset="0"/>
              </a:rPr>
              <a:t>91% Dies </a:t>
            </a:r>
            <a:r>
              <a:rPr lang="de-DE" sz="1400" b="1" dirty="0" err="1">
                <a:latin typeface="Century Gothic" panose="020B0502020202020204" pitchFamily="34" charset="0"/>
              </a:rPr>
              <a:t>passed</a:t>
            </a:r>
            <a:endParaRPr lang="de-DE" sz="1400" b="1" dirty="0">
              <a:latin typeface="Century Gothic" panose="020B0502020202020204" pitchFamily="34" charset="0"/>
            </a:endParaRPr>
          </a:p>
        </p:txBody>
      </p:sp>
      <p:sp>
        <p:nvSpPr>
          <p:cNvPr id="33" name="TextBox 16">
            <a:extLst>
              <a:ext uri="{FF2B5EF4-FFF2-40B4-BE49-F238E27FC236}">
                <a16:creationId xmlns:a16="http://schemas.microsoft.com/office/drawing/2014/main" id="{0AB0412E-B940-866E-6C4A-21093DE111C2}"/>
              </a:ext>
            </a:extLst>
          </p:cNvPr>
          <p:cNvSpPr txBox="1"/>
          <p:nvPr/>
        </p:nvSpPr>
        <p:spPr>
          <a:xfrm>
            <a:off x="2004617" y="1863313"/>
            <a:ext cx="3471624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Plasma Polish</a:t>
            </a:r>
          </a:p>
        </p:txBody>
      </p:sp>
      <p:sp>
        <p:nvSpPr>
          <p:cNvPr id="34" name="TextBox 17">
            <a:extLst>
              <a:ext uri="{FF2B5EF4-FFF2-40B4-BE49-F238E27FC236}">
                <a16:creationId xmlns:a16="http://schemas.microsoft.com/office/drawing/2014/main" id="{38E20AA7-75C3-2759-E25B-27D627CCF38A}"/>
              </a:ext>
            </a:extLst>
          </p:cNvPr>
          <p:cNvSpPr txBox="1"/>
          <p:nvPr/>
        </p:nvSpPr>
        <p:spPr>
          <a:xfrm>
            <a:off x="5814615" y="1863313"/>
            <a:ext cx="348347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  <a:latin typeface="Century Gothic" panose="020B0502020202020204" pitchFamily="34" charset="0"/>
              </a:rPr>
              <a:t>CMP REFERENCE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F929EC99-F75C-ADD2-06FC-C7B9794DD6AF}"/>
              </a:ext>
            </a:extLst>
          </p:cNvPr>
          <p:cNvSpPr txBox="1">
            <a:spLocks/>
          </p:cNvSpPr>
          <p:nvPr/>
        </p:nvSpPr>
        <p:spPr>
          <a:xfrm>
            <a:off x="433459" y="4633075"/>
            <a:ext cx="1384570" cy="1006385"/>
          </a:xfrm>
          <a:prstGeom prst="rect">
            <a:avLst/>
          </a:prstGeom>
        </p:spPr>
        <p:txBody>
          <a:bodyPr vert="horz" lIns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1" kern="1200">
                <a:solidFill>
                  <a:srgbClr val="1C2674"/>
                </a:solidFill>
                <a:latin typeface="Oxford Raleway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800">
                <a:solidFill>
                  <a:schemeClr val="tx1"/>
                </a:solidFill>
                <a:latin typeface="Century Gothic" panose="020B0502020202020204" pitchFamily="34" charset="0"/>
              </a:rPr>
              <a:t>V</a:t>
            </a:r>
            <a:r>
              <a:rPr lang="en-GB" sz="1800" baseline="-25000">
                <a:solidFill>
                  <a:schemeClr val="tx1"/>
                </a:solidFill>
                <a:latin typeface="Century Gothic" panose="020B0502020202020204" pitchFamily="34" charset="0"/>
              </a:rPr>
              <a:t>B</a:t>
            </a:r>
            <a:r>
              <a:rPr lang="en-GB" sz="1800">
                <a:solidFill>
                  <a:schemeClr val="tx1"/>
                </a:solidFill>
                <a:latin typeface="Century Gothic" panose="020B0502020202020204" pitchFamily="34" charset="0"/>
              </a:rPr>
              <a:t> at 500µA</a:t>
            </a:r>
          </a:p>
          <a:p>
            <a:pPr>
              <a:lnSpc>
                <a:spcPct val="150000"/>
              </a:lnSpc>
            </a:pPr>
            <a:r>
              <a:rPr lang="en-GB" sz="1800" b="0">
                <a:solidFill>
                  <a:schemeClr val="tx1"/>
                </a:solidFill>
                <a:latin typeface="Century Gothic" panose="020B0502020202020204" pitchFamily="34" charset="0"/>
              </a:rPr>
              <a:t>(V</a:t>
            </a:r>
            <a:r>
              <a:rPr lang="en-GB" sz="1800" b="0" baseline="-25000">
                <a:solidFill>
                  <a:schemeClr val="tx1"/>
                </a:solidFill>
                <a:latin typeface="Century Gothic" panose="020B0502020202020204" pitchFamily="34" charset="0"/>
              </a:rPr>
              <a:t>B</a:t>
            </a:r>
            <a:r>
              <a:rPr lang="en-GB" sz="1800" b="0">
                <a:solidFill>
                  <a:schemeClr val="tx1"/>
                </a:solidFill>
                <a:latin typeface="Century Gothic" panose="020B0502020202020204" pitchFamily="34" charset="0"/>
              </a:rPr>
              <a:t>&gt;1500V)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1606CCA9-6645-8D8A-EAE7-58568B6A01C4}"/>
              </a:ext>
            </a:extLst>
          </p:cNvPr>
          <p:cNvSpPr txBox="1">
            <a:spLocks/>
          </p:cNvSpPr>
          <p:nvPr/>
        </p:nvSpPr>
        <p:spPr>
          <a:xfrm>
            <a:off x="433459" y="2336581"/>
            <a:ext cx="1771262" cy="1284261"/>
          </a:xfrm>
          <a:prstGeom prst="rect">
            <a:avLst/>
          </a:prstGeom>
        </p:spPr>
        <p:txBody>
          <a:bodyPr vert="horz" lIns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1" kern="1200">
                <a:solidFill>
                  <a:srgbClr val="1C2674"/>
                </a:solidFill>
                <a:latin typeface="Oxford Raleway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J</a:t>
            </a:r>
            <a:r>
              <a:rPr lang="en-GB" sz="1800" baseline="-25000" dirty="0">
                <a:solidFill>
                  <a:schemeClr val="tx1"/>
                </a:solidFill>
                <a:latin typeface="Century Gothic" panose="020B0502020202020204" pitchFamily="34" charset="0"/>
              </a:rPr>
              <a:t>R</a:t>
            </a:r>
            <a:r>
              <a:rPr lang="en-GB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 at 600V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(</a:t>
            </a:r>
            <a:r>
              <a:rPr lang="pt-BR" sz="1800" b="0" dirty="0">
                <a:solidFill>
                  <a:schemeClr val="tx1"/>
                </a:solidFill>
                <a:latin typeface="Century Gothic" panose="020B0502020202020204" pitchFamily="34" charset="0"/>
              </a:rPr>
              <a:t>J</a:t>
            </a:r>
            <a:r>
              <a:rPr lang="pt-BR" sz="1800" b="0" baseline="-25000" dirty="0">
                <a:solidFill>
                  <a:schemeClr val="tx1"/>
                </a:solidFill>
                <a:latin typeface="Century Gothic" panose="020B0502020202020204" pitchFamily="34" charset="0"/>
              </a:rPr>
              <a:t>R</a:t>
            </a:r>
            <a:r>
              <a:rPr lang="pt-BR" sz="1800" b="0" dirty="0">
                <a:solidFill>
                  <a:schemeClr val="tx1"/>
                </a:solidFill>
                <a:latin typeface="Century Gothic" panose="020B0502020202020204" pitchFamily="34" charset="0"/>
              </a:rPr>
              <a:t> &lt; 1.7E-6 A/cm</a:t>
            </a:r>
            <a:r>
              <a:rPr lang="pt-BR" sz="1800" b="0" baseline="30000" dirty="0">
                <a:solidFill>
                  <a:schemeClr val="tx1"/>
                </a:solidFill>
                <a:latin typeface="Century Gothic" panose="020B0502020202020204" pitchFamily="34" charset="0"/>
              </a:rPr>
              <a:t>2</a:t>
            </a:r>
            <a:r>
              <a:rPr lang="pt-BR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)</a:t>
            </a:r>
          </a:p>
          <a:p>
            <a:pPr>
              <a:lnSpc>
                <a:spcPct val="150000"/>
              </a:lnSpc>
            </a:pPr>
            <a:endParaRPr lang="en-GB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800" baseline="-250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8" name="TextBox 36">
            <a:extLst>
              <a:ext uri="{FF2B5EF4-FFF2-40B4-BE49-F238E27FC236}">
                <a16:creationId xmlns:a16="http://schemas.microsoft.com/office/drawing/2014/main" id="{D87D14AB-200E-797D-7F8A-BE24E8C5D708}"/>
              </a:ext>
            </a:extLst>
          </p:cNvPr>
          <p:cNvSpPr txBox="1"/>
          <p:nvPr/>
        </p:nvSpPr>
        <p:spPr>
          <a:xfrm>
            <a:off x="9554723" y="3475991"/>
            <a:ext cx="2401923" cy="14773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</a:rPr>
              <a:t>Sub-surface damage remains after CMP revealed at epi (not seen prior)</a:t>
            </a:r>
            <a:endParaRPr kumimoji="0" lang="en-GB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5586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449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9" imgH="330" progId="TCLayout.ActiveDocument.1">
                  <p:embed/>
                </p:oleObj>
              </mc:Choice>
              <mc:Fallback>
                <p:oleObj name="think-cell Folie" r:id="rId3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400" y="127001"/>
            <a:ext cx="9579599" cy="753532"/>
          </a:xfrm>
        </p:spPr>
        <p:txBody>
          <a:bodyPr vert="horz"/>
          <a:lstStyle/>
          <a:p>
            <a:r>
              <a:rPr lang="en-GB" sz="3200" dirty="0">
                <a:solidFill>
                  <a:srgbClr val="002060"/>
                </a:solidFill>
                <a:cs typeface="Arial" panose="020B0604020202020204" pitchFamily="34" charset="0"/>
              </a:rPr>
              <a:t>Device Validation – MOSFETs Yields</a:t>
            </a:r>
            <a:endParaRPr lang="en-US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5129402-D085-CD72-48BE-04C2454EBE3F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12</a:t>
            </a:fld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5" name="Content Placeholder 25">
            <a:extLst>
              <a:ext uri="{FF2B5EF4-FFF2-40B4-BE49-F238E27FC236}">
                <a16:creationId xmlns:a16="http://schemas.microsoft.com/office/drawing/2014/main" id="{6D1BCA4E-FBFF-271F-63BC-46386D0E4034}"/>
              </a:ext>
            </a:extLst>
          </p:cNvPr>
          <p:cNvSpPr txBox="1">
            <a:spLocks/>
          </p:cNvSpPr>
          <p:nvPr/>
        </p:nvSpPr>
        <p:spPr>
          <a:xfrm>
            <a:off x="299506" y="1330442"/>
            <a:ext cx="11561866" cy="419750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chemeClr val="accent1"/>
              </a:buClr>
              <a:buSzPct val="70000"/>
              <a:buFont typeface="Oxford Raleway" pitchFamily="2" charset="0"/>
              <a:buChar char="•"/>
              <a:defRPr sz="2400" kern="120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Oxford Raleway" pitchFamily="2" charset="0"/>
              <a:buChar char="•"/>
              <a:defRPr sz="2000" kern="1200">
                <a:solidFill>
                  <a:schemeClr val="accent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6"/>
              </a:buClr>
              <a:buSzPct val="70000"/>
              <a:buFont typeface="Oxford Raleway" pitchFamily="2" charset="0"/>
              <a:buChar char="•"/>
              <a:defRPr sz="180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>
                <a:solidFill>
                  <a:schemeClr val="accent2"/>
                </a:solidFill>
              </a:rPr>
              <a:t>Average Pass rates/ Good Devices, </a:t>
            </a:r>
            <a:r>
              <a:rPr lang="en-GB" sz="2000" dirty="0">
                <a:solidFill>
                  <a:schemeClr val="bg1">
                    <a:lumMod val="50000"/>
                  </a:schemeClr>
                </a:solidFill>
              </a:rPr>
              <a:t>(%)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49B624A-91EB-02C6-BFFA-831D445F6513}"/>
              </a:ext>
            </a:extLst>
          </p:cNvPr>
          <p:cNvGrpSpPr/>
          <p:nvPr/>
        </p:nvGrpSpPr>
        <p:grpSpPr>
          <a:xfrm>
            <a:off x="330628" y="1794564"/>
            <a:ext cx="11530744" cy="2646389"/>
            <a:chOff x="330628" y="1079917"/>
            <a:chExt cx="11530744" cy="2646389"/>
          </a:xfrm>
        </p:grpSpPr>
        <p:pic>
          <p:nvPicPr>
            <p:cNvPr id="4" name="Picture 1">
              <a:extLst>
                <a:ext uri="{FF2B5EF4-FFF2-40B4-BE49-F238E27FC236}">
                  <a16:creationId xmlns:a16="http://schemas.microsoft.com/office/drawing/2014/main" id="{74152CCD-7CDD-CA31-7303-0186F23BBE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3717"/>
            <a:stretch/>
          </p:blipFill>
          <p:spPr>
            <a:xfrm>
              <a:off x="342143" y="1079917"/>
              <a:ext cx="2987205" cy="2628000"/>
            </a:xfrm>
            <a:prstGeom prst="rect">
              <a:avLst/>
            </a:prstGeom>
          </p:spPr>
        </p:pic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1653A4DE-D2FA-B8BF-AC3A-3CA4F26E95F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64224" y="1079917"/>
              <a:ext cx="3101040" cy="2628000"/>
            </a:xfrm>
            <a:prstGeom prst="rect">
              <a:avLst/>
            </a:prstGeom>
          </p:spPr>
        </p:pic>
        <p:pic>
          <p:nvPicPr>
            <p:cNvPr id="14" name="Picture 5">
              <a:extLst>
                <a:ext uri="{FF2B5EF4-FFF2-40B4-BE49-F238E27FC236}">
                  <a16:creationId xmlns:a16="http://schemas.microsoft.com/office/drawing/2014/main" id="{0758CA3C-46E4-8039-8B7D-B9B1259CBAF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900139" y="1079917"/>
              <a:ext cx="3113800" cy="2628000"/>
            </a:xfrm>
            <a:prstGeom prst="rect">
              <a:avLst/>
            </a:prstGeom>
          </p:spPr>
        </p:pic>
        <p:pic>
          <p:nvPicPr>
            <p:cNvPr id="16" name="Picture 6">
              <a:extLst>
                <a:ext uri="{FF2B5EF4-FFF2-40B4-BE49-F238E27FC236}">
                  <a16:creationId xmlns:a16="http://schemas.microsoft.com/office/drawing/2014/main" id="{01FE9B17-D034-6F6B-0E93-5BFD1E944EA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748815" y="1079917"/>
              <a:ext cx="3101041" cy="2628000"/>
            </a:xfrm>
            <a:prstGeom prst="rect">
              <a:avLst/>
            </a:prstGeom>
          </p:spPr>
        </p:pic>
        <p:sp>
          <p:nvSpPr>
            <p:cNvPr id="18" name="Rechteck 2">
              <a:extLst>
                <a:ext uri="{FF2B5EF4-FFF2-40B4-BE49-F238E27FC236}">
                  <a16:creationId xmlns:a16="http://schemas.microsoft.com/office/drawing/2014/main" id="{FB71182B-BCD4-9B31-2BA7-01A11FDB9A4B}"/>
                </a:ext>
              </a:extLst>
            </p:cNvPr>
            <p:cNvSpPr/>
            <p:nvPr/>
          </p:nvSpPr>
          <p:spPr>
            <a:xfrm>
              <a:off x="330628" y="1089786"/>
              <a:ext cx="11530744" cy="2636520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/>
                </a:solidFill>
              </a:endParaRPr>
            </a:p>
          </p:txBody>
        </p:sp>
        <p:cxnSp>
          <p:nvCxnSpPr>
            <p:cNvPr id="19" name="Straight Connector 8">
              <a:extLst>
                <a:ext uri="{FF2B5EF4-FFF2-40B4-BE49-F238E27FC236}">
                  <a16:creationId xmlns:a16="http://schemas.microsoft.com/office/drawing/2014/main" id="{F3DB643D-775C-CFDB-E4F4-46FCA836C2E1}"/>
                </a:ext>
              </a:extLst>
            </p:cNvPr>
            <p:cNvCxnSpPr/>
            <p:nvPr/>
          </p:nvCxnSpPr>
          <p:spPr>
            <a:xfrm>
              <a:off x="1588236" y="1914525"/>
              <a:ext cx="0" cy="493521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9">
              <a:extLst>
                <a:ext uri="{FF2B5EF4-FFF2-40B4-BE49-F238E27FC236}">
                  <a16:creationId xmlns:a16="http://schemas.microsoft.com/office/drawing/2014/main" id="{1095FA1D-1E4B-76BB-0946-BD892AC23F68}"/>
                </a:ext>
              </a:extLst>
            </p:cNvPr>
            <p:cNvCxnSpPr/>
            <p:nvPr/>
          </p:nvCxnSpPr>
          <p:spPr>
            <a:xfrm>
              <a:off x="1250689" y="1698856"/>
              <a:ext cx="0" cy="252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41">
              <a:extLst>
                <a:ext uri="{FF2B5EF4-FFF2-40B4-BE49-F238E27FC236}">
                  <a16:creationId xmlns:a16="http://schemas.microsoft.com/office/drawing/2014/main" id="{8ACB4790-E394-3E68-AB23-D9A09E9EC720}"/>
                </a:ext>
              </a:extLst>
            </p:cNvPr>
            <p:cNvCxnSpPr>
              <a:cxnSpLocks/>
            </p:cNvCxnSpPr>
            <p:nvPr/>
          </p:nvCxnSpPr>
          <p:spPr>
            <a:xfrm>
              <a:off x="2435003" y="1529766"/>
              <a:ext cx="0" cy="288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42">
              <a:extLst>
                <a:ext uri="{FF2B5EF4-FFF2-40B4-BE49-F238E27FC236}">
                  <a16:creationId xmlns:a16="http://schemas.microsoft.com/office/drawing/2014/main" id="{41392160-19A3-8D73-DD7D-6860CB3A25B0}"/>
                </a:ext>
              </a:extLst>
            </p:cNvPr>
            <p:cNvCxnSpPr>
              <a:cxnSpLocks/>
            </p:cNvCxnSpPr>
            <p:nvPr/>
          </p:nvCxnSpPr>
          <p:spPr>
            <a:xfrm>
              <a:off x="2762030" y="1529766"/>
              <a:ext cx="0" cy="1548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43">
              <a:extLst>
                <a:ext uri="{FF2B5EF4-FFF2-40B4-BE49-F238E27FC236}">
                  <a16:creationId xmlns:a16="http://schemas.microsoft.com/office/drawing/2014/main" id="{8E232F14-2769-2221-B21F-1FBF2461C6FD}"/>
                </a:ext>
              </a:extLst>
            </p:cNvPr>
            <p:cNvCxnSpPr>
              <a:cxnSpLocks/>
            </p:cNvCxnSpPr>
            <p:nvPr/>
          </p:nvCxnSpPr>
          <p:spPr>
            <a:xfrm>
              <a:off x="7258625" y="2463826"/>
              <a:ext cx="0" cy="450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44">
              <a:extLst>
                <a:ext uri="{FF2B5EF4-FFF2-40B4-BE49-F238E27FC236}">
                  <a16:creationId xmlns:a16="http://schemas.microsoft.com/office/drawing/2014/main" id="{363DD1C8-F8A2-F82A-AEB3-8B8A3EA8E602}"/>
                </a:ext>
              </a:extLst>
            </p:cNvPr>
            <p:cNvCxnSpPr>
              <a:cxnSpLocks/>
            </p:cNvCxnSpPr>
            <p:nvPr/>
          </p:nvCxnSpPr>
          <p:spPr>
            <a:xfrm>
              <a:off x="8448990" y="2005351"/>
              <a:ext cx="0" cy="468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5">
              <a:extLst>
                <a:ext uri="{FF2B5EF4-FFF2-40B4-BE49-F238E27FC236}">
                  <a16:creationId xmlns:a16="http://schemas.microsoft.com/office/drawing/2014/main" id="{7607A1D6-9364-E390-CD7C-122DA3CFE4AC}"/>
                </a:ext>
              </a:extLst>
            </p:cNvPr>
            <p:cNvCxnSpPr/>
            <p:nvPr/>
          </p:nvCxnSpPr>
          <p:spPr>
            <a:xfrm>
              <a:off x="10108881" y="1636495"/>
              <a:ext cx="0" cy="162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6">
              <a:extLst>
                <a:ext uri="{FF2B5EF4-FFF2-40B4-BE49-F238E27FC236}">
                  <a16:creationId xmlns:a16="http://schemas.microsoft.com/office/drawing/2014/main" id="{FC2DFDF7-64F7-D6F1-A4C2-19FBFF7CBE8E}"/>
                </a:ext>
              </a:extLst>
            </p:cNvPr>
            <p:cNvCxnSpPr>
              <a:cxnSpLocks/>
            </p:cNvCxnSpPr>
            <p:nvPr/>
          </p:nvCxnSpPr>
          <p:spPr>
            <a:xfrm>
              <a:off x="9773389" y="1582778"/>
              <a:ext cx="0" cy="2628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47">
              <a:extLst>
                <a:ext uri="{FF2B5EF4-FFF2-40B4-BE49-F238E27FC236}">
                  <a16:creationId xmlns:a16="http://schemas.microsoft.com/office/drawing/2014/main" id="{D9EE2A4D-852F-B49E-B5F7-0287C7729671}"/>
                </a:ext>
              </a:extLst>
            </p:cNvPr>
            <p:cNvCxnSpPr/>
            <p:nvPr/>
          </p:nvCxnSpPr>
          <p:spPr>
            <a:xfrm>
              <a:off x="11292856" y="1795320"/>
              <a:ext cx="0" cy="1656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48">
              <a:extLst>
                <a:ext uri="{FF2B5EF4-FFF2-40B4-BE49-F238E27FC236}">
                  <a16:creationId xmlns:a16="http://schemas.microsoft.com/office/drawing/2014/main" id="{DE7BD13E-AEBE-BDC2-5FA5-80011A92A680}"/>
                </a:ext>
              </a:extLst>
            </p:cNvPr>
            <p:cNvCxnSpPr/>
            <p:nvPr/>
          </p:nvCxnSpPr>
          <p:spPr>
            <a:xfrm>
              <a:off x="10952110" y="1852564"/>
              <a:ext cx="0" cy="2628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49">
              <a:extLst>
                <a:ext uri="{FF2B5EF4-FFF2-40B4-BE49-F238E27FC236}">
                  <a16:creationId xmlns:a16="http://schemas.microsoft.com/office/drawing/2014/main" id="{B10E299E-5D05-55DB-A198-AEE6043FE783}"/>
                </a:ext>
              </a:extLst>
            </p:cNvPr>
            <p:cNvCxnSpPr>
              <a:cxnSpLocks/>
            </p:cNvCxnSpPr>
            <p:nvPr/>
          </p:nvCxnSpPr>
          <p:spPr>
            <a:xfrm>
              <a:off x="8418390" y="2010860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0">
              <a:extLst>
                <a:ext uri="{FF2B5EF4-FFF2-40B4-BE49-F238E27FC236}">
                  <a16:creationId xmlns:a16="http://schemas.microsoft.com/office/drawing/2014/main" id="{44F41E3C-D35A-3377-9539-7F5D294B23B1}"/>
                </a:ext>
              </a:extLst>
            </p:cNvPr>
            <p:cNvCxnSpPr>
              <a:cxnSpLocks/>
            </p:cNvCxnSpPr>
            <p:nvPr/>
          </p:nvCxnSpPr>
          <p:spPr>
            <a:xfrm>
              <a:off x="8418390" y="2477585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1">
              <a:extLst>
                <a:ext uri="{FF2B5EF4-FFF2-40B4-BE49-F238E27FC236}">
                  <a16:creationId xmlns:a16="http://schemas.microsoft.com/office/drawing/2014/main" id="{4F2785CC-EDB5-898C-D254-8D82AB258285}"/>
                </a:ext>
              </a:extLst>
            </p:cNvPr>
            <p:cNvCxnSpPr>
              <a:cxnSpLocks/>
            </p:cNvCxnSpPr>
            <p:nvPr/>
          </p:nvCxnSpPr>
          <p:spPr>
            <a:xfrm>
              <a:off x="7228025" y="2463826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2">
              <a:extLst>
                <a:ext uri="{FF2B5EF4-FFF2-40B4-BE49-F238E27FC236}">
                  <a16:creationId xmlns:a16="http://schemas.microsoft.com/office/drawing/2014/main" id="{24572930-6469-C34B-DB4A-BFFAA89D03B2}"/>
                </a:ext>
              </a:extLst>
            </p:cNvPr>
            <p:cNvCxnSpPr>
              <a:cxnSpLocks/>
            </p:cNvCxnSpPr>
            <p:nvPr/>
          </p:nvCxnSpPr>
          <p:spPr>
            <a:xfrm>
              <a:off x="7228025" y="2914676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3">
              <a:extLst>
                <a:ext uri="{FF2B5EF4-FFF2-40B4-BE49-F238E27FC236}">
                  <a16:creationId xmlns:a16="http://schemas.microsoft.com/office/drawing/2014/main" id="{70ED2F57-44D6-FF1A-4059-ED468E6F6216}"/>
                </a:ext>
              </a:extLst>
            </p:cNvPr>
            <p:cNvCxnSpPr>
              <a:cxnSpLocks/>
            </p:cNvCxnSpPr>
            <p:nvPr/>
          </p:nvCxnSpPr>
          <p:spPr>
            <a:xfrm>
              <a:off x="9742789" y="1582778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4">
              <a:extLst>
                <a:ext uri="{FF2B5EF4-FFF2-40B4-BE49-F238E27FC236}">
                  <a16:creationId xmlns:a16="http://schemas.microsoft.com/office/drawing/2014/main" id="{37E49270-949D-E6C4-461A-FFADD56DC463}"/>
                </a:ext>
              </a:extLst>
            </p:cNvPr>
            <p:cNvCxnSpPr>
              <a:cxnSpLocks/>
            </p:cNvCxnSpPr>
            <p:nvPr/>
          </p:nvCxnSpPr>
          <p:spPr>
            <a:xfrm>
              <a:off x="9742789" y="1850270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55">
              <a:extLst>
                <a:ext uri="{FF2B5EF4-FFF2-40B4-BE49-F238E27FC236}">
                  <a16:creationId xmlns:a16="http://schemas.microsoft.com/office/drawing/2014/main" id="{11D80140-8EC0-5D3B-C371-C03F21D75C52}"/>
                </a:ext>
              </a:extLst>
            </p:cNvPr>
            <p:cNvCxnSpPr>
              <a:cxnSpLocks/>
            </p:cNvCxnSpPr>
            <p:nvPr/>
          </p:nvCxnSpPr>
          <p:spPr>
            <a:xfrm>
              <a:off x="10078281" y="1636495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56">
              <a:extLst>
                <a:ext uri="{FF2B5EF4-FFF2-40B4-BE49-F238E27FC236}">
                  <a16:creationId xmlns:a16="http://schemas.microsoft.com/office/drawing/2014/main" id="{6517A8AE-3A62-ADEF-0C1F-8DAE730D6F32}"/>
                </a:ext>
              </a:extLst>
            </p:cNvPr>
            <p:cNvCxnSpPr>
              <a:cxnSpLocks/>
            </p:cNvCxnSpPr>
            <p:nvPr/>
          </p:nvCxnSpPr>
          <p:spPr>
            <a:xfrm>
              <a:off x="10078281" y="1796833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57">
              <a:extLst>
                <a:ext uri="{FF2B5EF4-FFF2-40B4-BE49-F238E27FC236}">
                  <a16:creationId xmlns:a16="http://schemas.microsoft.com/office/drawing/2014/main" id="{78A0E080-EDA2-C506-8AFC-577E4396951B}"/>
                </a:ext>
              </a:extLst>
            </p:cNvPr>
            <p:cNvCxnSpPr>
              <a:cxnSpLocks/>
            </p:cNvCxnSpPr>
            <p:nvPr/>
          </p:nvCxnSpPr>
          <p:spPr>
            <a:xfrm>
              <a:off x="10921510" y="1847802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58">
              <a:extLst>
                <a:ext uri="{FF2B5EF4-FFF2-40B4-BE49-F238E27FC236}">
                  <a16:creationId xmlns:a16="http://schemas.microsoft.com/office/drawing/2014/main" id="{49AA0E56-EFE2-0F2B-B0DC-5DFFDCDF0034}"/>
                </a:ext>
              </a:extLst>
            </p:cNvPr>
            <p:cNvCxnSpPr>
              <a:cxnSpLocks/>
            </p:cNvCxnSpPr>
            <p:nvPr/>
          </p:nvCxnSpPr>
          <p:spPr>
            <a:xfrm>
              <a:off x="10921510" y="2115293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59">
              <a:extLst>
                <a:ext uri="{FF2B5EF4-FFF2-40B4-BE49-F238E27FC236}">
                  <a16:creationId xmlns:a16="http://schemas.microsoft.com/office/drawing/2014/main" id="{CC0DC219-3A65-04D8-D623-B31A9B35EBDE}"/>
                </a:ext>
              </a:extLst>
            </p:cNvPr>
            <p:cNvCxnSpPr>
              <a:cxnSpLocks/>
            </p:cNvCxnSpPr>
            <p:nvPr/>
          </p:nvCxnSpPr>
          <p:spPr>
            <a:xfrm>
              <a:off x="11262256" y="1795320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0">
              <a:extLst>
                <a:ext uri="{FF2B5EF4-FFF2-40B4-BE49-F238E27FC236}">
                  <a16:creationId xmlns:a16="http://schemas.microsoft.com/office/drawing/2014/main" id="{E3AD7189-D34D-6C93-DCA8-6A9A6F45C02A}"/>
                </a:ext>
              </a:extLst>
            </p:cNvPr>
            <p:cNvCxnSpPr>
              <a:cxnSpLocks/>
            </p:cNvCxnSpPr>
            <p:nvPr/>
          </p:nvCxnSpPr>
          <p:spPr>
            <a:xfrm>
              <a:off x="11262256" y="1960418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1">
              <a:extLst>
                <a:ext uri="{FF2B5EF4-FFF2-40B4-BE49-F238E27FC236}">
                  <a16:creationId xmlns:a16="http://schemas.microsoft.com/office/drawing/2014/main" id="{E01B3912-1F42-4A7F-D21F-D01CCD106CFA}"/>
                </a:ext>
              </a:extLst>
            </p:cNvPr>
            <p:cNvCxnSpPr>
              <a:cxnSpLocks/>
            </p:cNvCxnSpPr>
            <p:nvPr/>
          </p:nvCxnSpPr>
          <p:spPr>
            <a:xfrm>
              <a:off x="1555364" y="1914525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2">
              <a:extLst>
                <a:ext uri="{FF2B5EF4-FFF2-40B4-BE49-F238E27FC236}">
                  <a16:creationId xmlns:a16="http://schemas.microsoft.com/office/drawing/2014/main" id="{94EA5F40-BD2B-F0A1-4588-DB5BB9B80DAD}"/>
                </a:ext>
              </a:extLst>
            </p:cNvPr>
            <p:cNvCxnSpPr>
              <a:cxnSpLocks/>
            </p:cNvCxnSpPr>
            <p:nvPr/>
          </p:nvCxnSpPr>
          <p:spPr>
            <a:xfrm>
              <a:off x="1555364" y="2406650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3">
              <a:extLst>
                <a:ext uri="{FF2B5EF4-FFF2-40B4-BE49-F238E27FC236}">
                  <a16:creationId xmlns:a16="http://schemas.microsoft.com/office/drawing/2014/main" id="{544E4A03-94D4-C842-2BEF-5730B27AA9EC}"/>
                </a:ext>
              </a:extLst>
            </p:cNvPr>
            <p:cNvCxnSpPr>
              <a:cxnSpLocks/>
            </p:cNvCxnSpPr>
            <p:nvPr/>
          </p:nvCxnSpPr>
          <p:spPr>
            <a:xfrm>
              <a:off x="1220089" y="1698856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4">
              <a:extLst>
                <a:ext uri="{FF2B5EF4-FFF2-40B4-BE49-F238E27FC236}">
                  <a16:creationId xmlns:a16="http://schemas.microsoft.com/office/drawing/2014/main" id="{64C69054-0238-6344-A39E-8122A8D27BEC}"/>
                </a:ext>
              </a:extLst>
            </p:cNvPr>
            <p:cNvCxnSpPr>
              <a:cxnSpLocks/>
            </p:cNvCxnSpPr>
            <p:nvPr/>
          </p:nvCxnSpPr>
          <p:spPr>
            <a:xfrm>
              <a:off x="1220089" y="1949681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65">
              <a:extLst>
                <a:ext uri="{FF2B5EF4-FFF2-40B4-BE49-F238E27FC236}">
                  <a16:creationId xmlns:a16="http://schemas.microsoft.com/office/drawing/2014/main" id="{65B8842E-E9BD-72EE-4D5B-C45B1EC879D3}"/>
                </a:ext>
              </a:extLst>
            </p:cNvPr>
            <p:cNvCxnSpPr>
              <a:cxnSpLocks/>
            </p:cNvCxnSpPr>
            <p:nvPr/>
          </p:nvCxnSpPr>
          <p:spPr>
            <a:xfrm>
              <a:off x="2401228" y="1821681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66">
              <a:extLst>
                <a:ext uri="{FF2B5EF4-FFF2-40B4-BE49-F238E27FC236}">
                  <a16:creationId xmlns:a16="http://schemas.microsoft.com/office/drawing/2014/main" id="{D266A437-1FEB-2B84-69C6-1D7E558C6BD9}"/>
                </a:ext>
              </a:extLst>
            </p:cNvPr>
            <p:cNvCxnSpPr>
              <a:cxnSpLocks/>
            </p:cNvCxnSpPr>
            <p:nvPr/>
          </p:nvCxnSpPr>
          <p:spPr>
            <a:xfrm>
              <a:off x="2731430" y="1684566"/>
              <a:ext cx="6120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TextBox 67">
            <a:extLst>
              <a:ext uri="{FF2B5EF4-FFF2-40B4-BE49-F238E27FC236}">
                <a16:creationId xmlns:a16="http://schemas.microsoft.com/office/drawing/2014/main" id="{CA280A7A-5C19-10A6-AE07-C2CF361C1D8F}"/>
              </a:ext>
            </a:extLst>
          </p:cNvPr>
          <p:cNvSpPr txBox="1"/>
          <p:nvPr/>
        </p:nvSpPr>
        <p:spPr>
          <a:xfrm>
            <a:off x="330628" y="4547731"/>
            <a:ext cx="695859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latin typeface="Century Gothic" panose="020B0502020202020204" pitchFamily="34" charset="0"/>
              </a:rPr>
              <a:t>3 Plasma Polish wafers </a:t>
            </a:r>
            <a:r>
              <a:rPr lang="en-GB" dirty="0">
                <a:latin typeface="Century Gothic" panose="020B0502020202020204" pitchFamily="34" charset="0"/>
                <a:cs typeface="Arial" panose="020B0604020202020204" pitchFamily="34" charset="0"/>
              </a:rPr>
              <a:t>↔ 3 CMP wafers</a:t>
            </a: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latin typeface="Century Gothic" panose="020B0502020202020204" pitchFamily="34" charset="0"/>
                <a:cs typeface="Arial" panose="020B0604020202020204" pitchFamily="34" charset="0"/>
              </a:rPr>
              <a:t>MOSFETs operating at 1200V</a:t>
            </a: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latin typeface="Century Gothic" panose="020B0502020202020204" pitchFamily="34" charset="0"/>
              </a:rPr>
              <a:t>Plots reporting the average of the % of dies passed/wafer </a:t>
            </a:r>
          </a:p>
        </p:txBody>
      </p:sp>
      <p:sp>
        <p:nvSpPr>
          <p:cNvPr id="74" name="TextBox 67">
            <a:extLst>
              <a:ext uri="{FF2B5EF4-FFF2-40B4-BE49-F238E27FC236}">
                <a16:creationId xmlns:a16="http://schemas.microsoft.com/office/drawing/2014/main" id="{4A468BB2-47E4-4A8A-44C2-B77E22763738}"/>
              </a:ext>
            </a:extLst>
          </p:cNvPr>
          <p:cNvSpPr txBox="1"/>
          <p:nvPr/>
        </p:nvSpPr>
        <p:spPr>
          <a:xfrm>
            <a:off x="330627" y="5738729"/>
            <a:ext cx="116212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MOSFETs on Plasma Polish substrates perform at same level as MOSFETs on CMP substrates</a:t>
            </a:r>
          </a:p>
        </p:txBody>
      </p:sp>
    </p:spTree>
    <p:extLst>
      <p:ext uri="{BB962C8B-B14F-4D97-AF65-F5344CB8AC3E}">
        <p14:creationId xmlns:p14="http://schemas.microsoft.com/office/powerpoint/2010/main" val="11999080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684842D-4AF3-4900-F42C-4039582BD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2707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8" imgH="329" progId="TCLayout.ActiveDocument.1">
                  <p:embed/>
                </p:oleObj>
              </mc:Choice>
              <mc:Fallback>
                <p:oleObj name="think-cell Folie" r:id="rId3" imgW="328" imgH="32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84842D-4AF3-4900-F42C-4039582BD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FD2D05-0A03-1EFA-7793-5174BAF7AD2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>
                <a:latin typeface="Century Gothic" panose="020B0502020202020204" pitchFamily="34" charset="0"/>
              </a:rPr>
              <a:t>Plasma Polish – </a:t>
            </a:r>
            <a:br>
              <a:rPr lang="en-GB" dirty="0">
                <a:latin typeface="Century Gothic" panose="020B0502020202020204" pitchFamily="34" charset="0"/>
              </a:rPr>
            </a:br>
            <a:r>
              <a:rPr lang="en-GB" dirty="0">
                <a:latin typeface="Century Gothic" panose="020B0502020202020204" pitchFamily="34" charset="0"/>
              </a:rPr>
              <a:t>Value Proposition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DC2CA23-656E-18CB-0CA2-EA0FD65237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7645" y="4162215"/>
            <a:ext cx="11493726" cy="1655762"/>
          </a:xfrm>
        </p:spPr>
        <p:txBody>
          <a:bodyPr/>
          <a:lstStyle/>
          <a:p>
            <a:r>
              <a:rPr lang="en-GB" sz="2400" dirty="0">
                <a:latin typeface="Century Gothic" panose="020B0502020202020204" pitchFamily="34" charset="0"/>
              </a:rPr>
              <a:t>Cost reduction </a:t>
            </a:r>
          </a:p>
          <a:p>
            <a:r>
              <a:rPr lang="en-GB" dirty="0">
                <a:latin typeface="Century Gothic" panose="020B0502020202020204" pitchFamily="34" charset="0"/>
              </a:rPr>
              <a:t>Potential Yield improvement</a:t>
            </a:r>
          </a:p>
          <a:p>
            <a:r>
              <a:rPr lang="en-GB" sz="2400" dirty="0">
                <a:latin typeface="Century Gothic" panose="020B0502020202020204" pitchFamily="34" charset="0"/>
              </a:rPr>
              <a:t>Environment friendly</a:t>
            </a:r>
          </a:p>
        </p:txBody>
      </p:sp>
    </p:spTree>
    <p:extLst>
      <p:ext uri="{BB962C8B-B14F-4D97-AF65-F5344CB8AC3E}">
        <p14:creationId xmlns:p14="http://schemas.microsoft.com/office/powerpoint/2010/main" val="31100675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7159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29" imgH="330" progId="TCLayout.ActiveDocument.1">
                  <p:embed/>
                </p:oleObj>
              </mc:Choice>
              <mc:Fallback>
                <p:oleObj name="think-cell Folie" r:id="rId15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400" y="127001"/>
            <a:ext cx="9579599" cy="753532"/>
          </a:xfrm>
        </p:spPr>
        <p:txBody>
          <a:bodyPr vert="horz"/>
          <a:lstStyle/>
          <a:p>
            <a:r>
              <a:rPr lang="en-US" sz="3200" b="1" dirty="0">
                <a:solidFill>
                  <a:schemeClr val="accent2"/>
                </a:solidFill>
              </a:rPr>
              <a:t>Benefits of the Plasma Polish process </a:t>
            </a:r>
            <a:endParaRPr lang="en-US" dirty="0"/>
          </a:p>
        </p:txBody>
      </p:sp>
      <p:sp>
        <p:nvSpPr>
          <p:cNvPr id="248" name="TextBox 44">
            <a:extLst>
              <a:ext uri="{FF2B5EF4-FFF2-40B4-BE49-F238E27FC236}">
                <a16:creationId xmlns:a16="http://schemas.microsoft.com/office/drawing/2014/main" id="{44CC13CA-99E9-3134-F603-4025FAE3B9B4}"/>
              </a:ext>
            </a:extLst>
          </p:cNvPr>
          <p:cNvSpPr txBox="1"/>
          <p:nvPr/>
        </p:nvSpPr>
        <p:spPr>
          <a:xfrm>
            <a:off x="305686" y="5974260"/>
            <a:ext cx="989411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Century Gothic" panose="020B0502020202020204" pitchFamily="34" charset="0"/>
              </a:rPr>
              <a:t>1.  Based on average substrate costs of USD 1200/6″ wafer and 24 USD/6″ wafer savings in plasma polishing operating costs </a:t>
            </a:r>
            <a:br>
              <a:rPr lang="en-US" sz="1000" dirty="0">
                <a:latin typeface="Century Gothic" panose="020B0502020202020204" pitchFamily="34" charset="0"/>
              </a:rPr>
            </a:br>
            <a:r>
              <a:rPr lang="en-US" sz="1000" dirty="0">
                <a:latin typeface="Century Gothic" panose="020B0502020202020204" pitchFamily="34" charset="0"/>
              </a:rPr>
              <a:t>2.  Based on ~ USD 500-600/wafer for FE manufacturing </a:t>
            </a:r>
          </a:p>
        </p:txBody>
      </p:sp>
      <p:sp>
        <p:nvSpPr>
          <p:cNvPr id="6" name="TextBox 74">
            <a:extLst>
              <a:ext uri="{FF2B5EF4-FFF2-40B4-BE49-F238E27FC236}">
                <a16:creationId xmlns:a16="http://schemas.microsoft.com/office/drawing/2014/main" id="{3B98EFCA-8A8A-74A7-29F4-5CE5A68E6F07}"/>
              </a:ext>
            </a:extLst>
          </p:cNvPr>
          <p:cNvSpPr txBox="1">
            <a:spLocks/>
          </p:cNvSpPr>
          <p:nvPr/>
        </p:nvSpPr>
        <p:spPr>
          <a:xfrm>
            <a:off x="8849360" y="1373074"/>
            <a:ext cx="3013109" cy="459524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200" dirty="0">
              <a:latin typeface="Century Gothic" panose="020B0502020202020204" pitchFamily="34" charset="0"/>
            </a:endParaRPr>
          </a:p>
        </p:txBody>
      </p:sp>
      <p:sp>
        <p:nvSpPr>
          <p:cNvPr id="9" name="TextBox 123">
            <a:extLst>
              <a:ext uri="{FF2B5EF4-FFF2-40B4-BE49-F238E27FC236}">
                <a16:creationId xmlns:a16="http://schemas.microsoft.com/office/drawing/2014/main" id="{1D08A225-187A-1E42-E8D3-D0ED195D1B63}"/>
              </a:ext>
            </a:extLst>
          </p:cNvPr>
          <p:cNvSpPr txBox="1">
            <a:spLocks/>
          </p:cNvSpPr>
          <p:nvPr/>
        </p:nvSpPr>
        <p:spPr>
          <a:xfrm>
            <a:off x="8955651" y="1457780"/>
            <a:ext cx="2226572" cy="55399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USD 23/</a:t>
            </a:r>
            <a:r>
              <a:rPr lang="en-US" sz="1800" b="1" dirty="0" err="1">
                <a:solidFill>
                  <a:schemeClr val="accent1"/>
                </a:solidFill>
                <a:latin typeface="Century Gothic" panose="020B0502020202020204" pitchFamily="34" charset="0"/>
              </a:rPr>
              <a:t>wf</a:t>
            </a:r>
            <a:endParaRPr lang="en-US" sz="18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accent1"/>
                </a:solidFill>
                <a:latin typeface="Century Gothic" panose="020B0502020202020204" pitchFamily="34" charset="0"/>
              </a:rPr>
              <a:t>(direct cost savings)</a:t>
            </a:r>
          </a:p>
        </p:txBody>
      </p:sp>
      <p:sp>
        <p:nvSpPr>
          <p:cNvPr id="10" name="TextBox 124">
            <a:extLst>
              <a:ext uri="{FF2B5EF4-FFF2-40B4-BE49-F238E27FC236}">
                <a16:creationId xmlns:a16="http://schemas.microsoft.com/office/drawing/2014/main" id="{CBF065D2-8852-79C8-3C1D-9237ED4A01B3}"/>
              </a:ext>
            </a:extLst>
          </p:cNvPr>
          <p:cNvSpPr txBox="1">
            <a:spLocks/>
          </p:cNvSpPr>
          <p:nvPr/>
        </p:nvSpPr>
        <p:spPr>
          <a:xfrm>
            <a:off x="8955652" y="2047819"/>
            <a:ext cx="2866177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latin typeface="Century Gothic" panose="020B0502020202020204" pitchFamily="34" charset="0"/>
              </a:rPr>
              <a:t>Cost reduction for 150 mm substrates, plus additional USD 50-70/</a:t>
            </a:r>
            <a:r>
              <a:rPr lang="en-US" sz="1400" dirty="0" err="1">
                <a:latin typeface="Century Gothic" panose="020B0502020202020204" pitchFamily="34" charset="0"/>
              </a:rPr>
              <a:t>wf</a:t>
            </a:r>
            <a:r>
              <a:rPr lang="en-US" sz="1400" dirty="0">
                <a:latin typeface="Century Gothic" panose="020B0502020202020204" pitchFamily="34" charset="0"/>
              </a:rPr>
              <a:t> cost potential through thinner slicing</a:t>
            </a:r>
            <a:r>
              <a:rPr lang="en-US" sz="1400" baseline="30000" dirty="0">
                <a:latin typeface="Century Gothic" panose="020B0502020202020204" pitchFamily="34" charset="0"/>
              </a:rPr>
              <a:t>1</a:t>
            </a:r>
            <a:r>
              <a:rPr lang="en-US" sz="1400" dirty="0"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14" name="TextBox 126">
            <a:extLst>
              <a:ext uri="{FF2B5EF4-FFF2-40B4-BE49-F238E27FC236}">
                <a16:creationId xmlns:a16="http://schemas.microsoft.com/office/drawing/2014/main" id="{67B37CC4-44DD-DF60-7BCC-036B717A2CFF}"/>
              </a:ext>
            </a:extLst>
          </p:cNvPr>
          <p:cNvSpPr txBox="1">
            <a:spLocks/>
          </p:cNvSpPr>
          <p:nvPr/>
        </p:nvSpPr>
        <p:spPr>
          <a:xfrm>
            <a:off x="8937116" y="5210074"/>
            <a:ext cx="286616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latin typeface="Century Gothic" panose="020B0502020202020204" pitchFamily="34" charset="0"/>
              </a:rPr>
              <a:t>Cost reduction for front-end manufacturers for each pp line yield improvement</a:t>
            </a:r>
            <a:r>
              <a:rPr lang="en-US" sz="1400" baseline="30000" dirty="0">
                <a:latin typeface="Century Gothic" panose="020B0502020202020204" pitchFamily="34" charset="0"/>
              </a:rPr>
              <a:t>2</a:t>
            </a:r>
            <a:endParaRPr lang="en-US" sz="1400" dirty="0">
              <a:latin typeface="Century Gothic" panose="020B0502020202020204" pitchFamily="34" charset="0"/>
            </a:endParaRPr>
          </a:p>
        </p:txBody>
      </p:sp>
      <p:sp>
        <p:nvSpPr>
          <p:cNvPr id="15" name="TextBox 127">
            <a:extLst>
              <a:ext uri="{FF2B5EF4-FFF2-40B4-BE49-F238E27FC236}">
                <a16:creationId xmlns:a16="http://schemas.microsoft.com/office/drawing/2014/main" id="{AE37D9C8-5142-7CC2-CDFD-C8B58DBF18B4}"/>
              </a:ext>
            </a:extLst>
          </p:cNvPr>
          <p:cNvSpPr txBox="1">
            <a:spLocks/>
          </p:cNvSpPr>
          <p:nvPr/>
        </p:nvSpPr>
        <p:spPr>
          <a:xfrm>
            <a:off x="8937118" y="4620035"/>
            <a:ext cx="2580835" cy="55399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USD 12-15/</a:t>
            </a:r>
            <a:r>
              <a:rPr lang="en-US" sz="1800" b="1" dirty="0" err="1">
                <a:solidFill>
                  <a:schemeClr val="accent1"/>
                </a:solidFill>
                <a:latin typeface="Century Gothic" panose="020B0502020202020204" pitchFamily="34" charset="0"/>
              </a:rPr>
              <a:t>wf</a:t>
            </a:r>
            <a:endParaRPr lang="en-US" sz="18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accent1"/>
                </a:solidFill>
                <a:latin typeface="Century Gothic" panose="020B0502020202020204" pitchFamily="34" charset="0"/>
              </a:rPr>
              <a:t>(potential cost savings)</a:t>
            </a:r>
          </a:p>
        </p:txBody>
      </p:sp>
      <p:sp>
        <p:nvSpPr>
          <p:cNvPr id="17" name="TextBox 123">
            <a:extLst>
              <a:ext uri="{FF2B5EF4-FFF2-40B4-BE49-F238E27FC236}">
                <a16:creationId xmlns:a16="http://schemas.microsoft.com/office/drawing/2014/main" id="{DA22DBC4-65DC-73ED-DD9B-6EF7B7C5D7FC}"/>
              </a:ext>
            </a:extLst>
          </p:cNvPr>
          <p:cNvSpPr txBox="1">
            <a:spLocks/>
          </p:cNvSpPr>
          <p:nvPr/>
        </p:nvSpPr>
        <p:spPr>
          <a:xfrm>
            <a:off x="8937116" y="3237386"/>
            <a:ext cx="2226572" cy="55399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USD 45/</a:t>
            </a:r>
            <a:r>
              <a:rPr lang="en-US" sz="1800" b="1" dirty="0" err="1">
                <a:solidFill>
                  <a:schemeClr val="accent1"/>
                </a:solidFill>
                <a:latin typeface="Century Gothic" panose="020B0502020202020204" pitchFamily="34" charset="0"/>
              </a:rPr>
              <a:t>wf</a:t>
            </a:r>
            <a:endParaRPr lang="en-US" sz="18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accent1"/>
                </a:solidFill>
                <a:latin typeface="Century Gothic" panose="020B0502020202020204" pitchFamily="34" charset="0"/>
              </a:rPr>
              <a:t>(direct cost savings)</a:t>
            </a:r>
          </a:p>
        </p:txBody>
      </p:sp>
      <p:sp>
        <p:nvSpPr>
          <p:cNvPr id="18" name="TextBox 124">
            <a:extLst>
              <a:ext uri="{FF2B5EF4-FFF2-40B4-BE49-F238E27FC236}">
                <a16:creationId xmlns:a16="http://schemas.microsoft.com/office/drawing/2014/main" id="{ADF6FB40-250C-34B0-4AC7-09472DAE9FEB}"/>
              </a:ext>
            </a:extLst>
          </p:cNvPr>
          <p:cNvSpPr txBox="1">
            <a:spLocks/>
          </p:cNvSpPr>
          <p:nvPr/>
        </p:nvSpPr>
        <p:spPr>
          <a:xfrm>
            <a:off x="8937117" y="3827425"/>
            <a:ext cx="286617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latin typeface="Century Gothic" panose="020B0502020202020204" pitchFamily="34" charset="0"/>
              </a:rPr>
              <a:t>Cost reduction for 200 mm substrates</a:t>
            </a:r>
          </a:p>
        </p:txBody>
      </p:sp>
      <p:sp>
        <p:nvSpPr>
          <p:cNvPr id="241" name="Freeform: Shape 29">
            <a:extLst>
              <a:ext uri="{FF2B5EF4-FFF2-40B4-BE49-F238E27FC236}">
                <a16:creationId xmlns:a16="http://schemas.microsoft.com/office/drawing/2014/main" id="{52C847C5-ECDE-6F76-4ABD-2D30441B03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70170" y="1373075"/>
            <a:ext cx="1713777" cy="8717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74349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74349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49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5916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91626" y="0"/>
                </a:lnTo>
                <a:lnTo>
                  <a:pt x="1828800" y="457200"/>
                </a:lnTo>
                <a:lnTo>
                  <a:pt x="1591626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rtlCol="0" anchor="ctr"/>
          <a:lstStyle/>
          <a:p>
            <a:pPr algn="ctr"/>
            <a:endParaRPr lang="en-US" sz="1600" b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44" name="TextBox 32">
            <a:extLst>
              <a:ext uri="{FF2B5EF4-FFF2-40B4-BE49-F238E27FC236}">
                <a16:creationId xmlns:a16="http://schemas.microsoft.com/office/drawing/2014/main" id="{96A6E16A-72B0-54C0-7E26-3DCE169B5E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60115" y="1433612"/>
            <a:ext cx="1401575" cy="75064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27432" tIns="45720" rIns="91440" bIns="4572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Clr>
                <a:srgbClr val="FFFFFF"/>
              </a:buClr>
              <a:buNone/>
            </a:pPr>
            <a:r>
              <a:rPr lang="en-US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Crystal growth</a:t>
            </a:r>
          </a:p>
        </p:txBody>
      </p:sp>
      <p:sp>
        <p:nvSpPr>
          <p:cNvPr id="239" name="Freeform: Shape 38">
            <a:extLst>
              <a:ext uri="{FF2B5EF4-FFF2-40B4-BE49-F238E27FC236}">
                <a16:creationId xmlns:a16="http://schemas.microsoft.com/office/drawing/2014/main" id="{756E5638-B516-75B0-DF89-6F08875EB3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55813" y="1373075"/>
            <a:ext cx="1713777" cy="8717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591626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91626" y="0"/>
                </a:lnTo>
                <a:lnTo>
                  <a:pt x="1828800" y="457200"/>
                </a:lnTo>
                <a:lnTo>
                  <a:pt x="1591626" y="914400"/>
                </a:lnTo>
                <a:lnTo>
                  <a:pt x="0" y="914400"/>
                </a:lnTo>
                <a:lnTo>
                  <a:pt x="237174" y="457201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rtlCol="0" anchor="ctr"/>
          <a:lstStyle/>
          <a:p>
            <a:pPr algn="ctr"/>
            <a:endParaRPr lang="en-US" sz="1600" b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40" name="TextBox 40">
            <a:extLst>
              <a:ext uri="{FF2B5EF4-FFF2-40B4-BE49-F238E27FC236}">
                <a16:creationId xmlns:a16="http://schemas.microsoft.com/office/drawing/2014/main" id="{552D288A-7320-EEB4-D79D-A8399E91E7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232477" y="1433612"/>
            <a:ext cx="1402412" cy="750648"/>
          </a:xfrm>
          <a:prstGeom prst="rect">
            <a:avLst/>
          </a:prstGeom>
          <a:noFill/>
          <a:ln>
            <a:noFill/>
          </a:ln>
        </p:spPr>
        <p:txBody>
          <a:bodyPr vert="horz" lIns="27432" tIns="45720" rIns="91440" bIns="4572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Clr>
                <a:srgbClr val="FFFFFF"/>
              </a:buClr>
              <a:buNone/>
            </a:pPr>
            <a:r>
              <a:rPr lang="en-US" b="1">
                <a:solidFill>
                  <a:schemeClr val="accent2"/>
                </a:solidFill>
                <a:latin typeface="Century Gothic" panose="020B0502020202020204" pitchFamily="34" charset="0"/>
              </a:rPr>
              <a:t>Slicing and grin-ding </a:t>
            </a:r>
          </a:p>
        </p:txBody>
      </p:sp>
      <p:sp>
        <p:nvSpPr>
          <p:cNvPr id="237" name="Freeform: Shape 43">
            <a:extLst>
              <a:ext uri="{FF2B5EF4-FFF2-40B4-BE49-F238E27FC236}">
                <a16:creationId xmlns:a16="http://schemas.microsoft.com/office/drawing/2014/main" id="{BBE2D569-269C-C99C-6FA8-9F3550200CC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07699" y="1373075"/>
            <a:ext cx="1713777" cy="8717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7 w 1828800"/>
              <a:gd name="connsiteY5" fmla="*/ 457201 h 914400"/>
              <a:gd name="connsiteX0" fmla="*/ 0 w 1828800"/>
              <a:gd name="connsiteY0" fmla="*/ 0 h 914400"/>
              <a:gd name="connsiteX1" fmla="*/ 1633993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7 w 1828800"/>
              <a:gd name="connsiteY5" fmla="*/ 457201 h 914400"/>
              <a:gd name="connsiteX0" fmla="*/ 0 w 1828800"/>
              <a:gd name="connsiteY0" fmla="*/ 0 h 914400"/>
              <a:gd name="connsiteX1" fmla="*/ 1633993 w 1828800"/>
              <a:gd name="connsiteY1" fmla="*/ 0 h 914400"/>
              <a:gd name="connsiteX2" fmla="*/ 1828800 w 1828800"/>
              <a:gd name="connsiteY2" fmla="*/ 457200 h 914400"/>
              <a:gd name="connsiteX3" fmla="*/ 1633993 w 1828800"/>
              <a:gd name="connsiteY3" fmla="*/ 914400 h 914400"/>
              <a:gd name="connsiteX4" fmla="*/ 0 w 1828800"/>
              <a:gd name="connsiteY4" fmla="*/ 914400 h 914400"/>
              <a:gd name="connsiteX5" fmla="*/ 194807 w 1828800"/>
              <a:gd name="connsiteY5" fmla="*/ 457201 h 914400"/>
              <a:gd name="connsiteX0" fmla="*/ 0 w 1828800"/>
              <a:gd name="connsiteY0" fmla="*/ 0 h 914400"/>
              <a:gd name="connsiteX1" fmla="*/ 1633993 w 1828800"/>
              <a:gd name="connsiteY1" fmla="*/ 0 h 914400"/>
              <a:gd name="connsiteX2" fmla="*/ 1828800 w 1828800"/>
              <a:gd name="connsiteY2" fmla="*/ 457200 h 914400"/>
              <a:gd name="connsiteX3" fmla="*/ 1633993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633993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6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6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6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3 w 1828800"/>
              <a:gd name="connsiteY1" fmla="*/ 0 h 914400"/>
              <a:gd name="connsiteX2" fmla="*/ 1828800 w 1828800"/>
              <a:gd name="connsiteY2" fmla="*/ 457200 h 914400"/>
              <a:gd name="connsiteX3" fmla="*/ 161348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3 w 1828800"/>
              <a:gd name="connsiteY1" fmla="*/ 0 h 914400"/>
              <a:gd name="connsiteX2" fmla="*/ 1828800 w 1828800"/>
              <a:gd name="connsiteY2" fmla="*/ 457200 h 914400"/>
              <a:gd name="connsiteX3" fmla="*/ 1613483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613483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591626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91626" y="0"/>
                </a:lnTo>
                <a:lnTo>
                  <a:pt x="1828800" y="457200"/>
                </a:lnTo>
                <a:lnTo>
                  <a:pt x="1591626" y="914400"/>
                </a:lnTo>
                <a:lnTo>
                  <a:pt x="0" y="914400"/>
                </a:lnTo>
                <a:lnTo>
                  <a:pt x="237174" y="457201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rtlCol="0" anchor="ctr"/>
          <a:lstStyle/>
          <a:p>
            <a:pPr algn="ctr"/>
            <a:endParaRPr lang="en-US" sz="1600" b="1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sp>
        <p:nvSpPr>
          <p:cNvPr id="238" name="TextBox 44">
            <a:extLst>
              <a:ext uri="{FF2B5EF4-FFF2-40B4-BE49-F238E27FC236}">
                <a16:creationId xmlns:a16="http://schemas.microsoft.com/office/drawing/2014/main" id="{A509A07A-F23E-FD61-6CC1-D827AEE3F9B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719456" y="1433612"/>
            <a:ext cx="1197307" cy="750648"/>
          </a:xfrm>
          <a:prstGeom prst="rect">
            <a:avLst/>
          </a:prstGeom>
          <a:noFill/>
          <a:ln>
            <a:noFill/>
          </a:ln>
        </p:spPr>
        <p:txBody>
          <a:bodyPr vert="horz" lIns="27432" tIns="45720" rIns="91440" bIns="4572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buClr>
                <a:srgbClr val="FFFFFF"/>
              </a:buClr>
              <a:buNone/>
            </a:pPr>
            <a:r>
              <a:rPr lang="en-US" b="1">
                <a:solidFill>
                  <a:schemeClr val="accent2"/>
                </a:solidFill>
                <a:latin typeface="Century Gothic" panose="020B0502020202020204" pitchFamily="34" charset="0"/>
              </a:rPr>
              <a:t>EPI</a:t>
            </a:r>
          </a:p>
        </p:txBody>
      </p:sp>
      <p:sp>
        <p:nvSpPr>
          <p:cNvPr id="30" name="Freeform: Shape 59">
            <a:extLst>
              <a:ext uri="{FF2B5EF4-FFF2-40B4-BE49-F238E27FC236}">
                <a16:creationId xmlns:a16="http://schemas.microsoft.com/office/drawing/2014/main" id="{6E9C7862-42F5-CCA8-BE28-858546BD00F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993342" y="1373075"/>
            <a:ext cx="1713777" cy="8717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58671 w 1828800"/>
              <a:gd name="connsiteY5" fmla="*/ 457201 h 914400"/>
              <a:gd name="connsiteX0" fmla="*/ 0 w 1902704"/>
              <a:gd name="connsiteY0" fmla="*/ 0 h 914400"/>
              <a:gd name="connsiteX1" fmla="*/ 1902704 w 1902704"/>
              <a:gd name="connsiteY1" fmla="*/ 0 h 914400"/>
              <a:gd name="connsiteX2" fmla="*/ 1828800 w 1902704"/>
              <a:gd name="connsiteY2" fmla="*/ 457200 h 914400"/>
              <a:gd name="connsiteX3" fmla="*/ 1644556 w 1902704"/>
              <a:gd name="connsiteY3" fmla="*/ 914400 h 914400"/>
              <a:gd name="connsiteX4" fmla="*/ 0 w 1902704"/>
              <a:gd name="connsiteY4" fmla="*/ 914400 h 914400"/>
              <a:gd name="connsiteX5" fmla="*/ 158671 w 1902704"/>
              <a:gd name="connsiteY5" fmla="*/ 457201 h 914400"/>
              <a:gd name="connsiteX0" fmla="*/ 0 w 1902704"/>
              <a:gd name="connsiteY0" fmla="*/ 0 h 914400"/>
              <a:gd name="connsiteX1" fmla="*/ 1902704 w 1902704"/>
              <a:gd name="connsiteY1" fmla="*/ 0 h 914400"/>
              <a:gd name="connsiteX2" fmla="*/ 1828800 w 1902704"/>
              <a:gd name="connsiteY2" fmla="*/ 457200 h 914400"/>
              <a:gd name="connsiteX3" fmla="*/ 1902702 w 1902704"/>
              <a:gd name="connsiteY3" fmla="*/ 914400 h 914400"/>
              <a:gd name="connsiteX4" fmla="*/ 0 w 1902704"/>
              <a:gd name="connsiteY4" fmla="*/ 914400 h 914400"/>
              <a:gd name="connsiteX5" fmla="*/ 158671 w 1902704"/>
              <a:gd name="connsiteY5" fmla="*/ 457201 h 914400"/>
              <a:gd name="connsiteX0" fmla="*/ 0 w 1902704"/>
              <a:gd name="connsiteY0" fmla="*/ 0 h 914400"/>
              <a:gd name="connsiteX1" fmla="*/ 1902704 w 1902704"/>
              <a:gd name="connsiteY1" fmla="*/ 0 h 914400"/>
              <a:gd name="connsiteX2" fmla="*/ 1828800 w 1902704"/>
              <a:gd name="connsiteY2" fmla="*/ 457200 h 914400"/>
              <a:gd name="connsiteX3" fmla="*/ 1902702 w 1902704"/>
              <a:gd name="connsiteY3" fmla="*/ 914400 h 914400"/>
              <a:gd name="connsiteX4" fmla="*/ 0 w 1902704"/>
              <a:gd name="connsiteY4" fmla="*/ 914400 h 914400"/>
              <a:gd name="connsiteX5" fmla="*/ 158671 w 1902704"/>
              <a:gd name="connsiteY5" fmla="*/ 457201 h 914400"/>
              <a:gd name="connsiteX0" fmla="*/ 0 w 1902702"/>
              <a:gd name="connsiteY0" fmla="*/ 0 h 914400"/>
              <a:gd name="connsiteX1" fmla="*/ 1744033 w 1902702"/>
              <a:gd name="connsiteY1" fmla="*/ 0 h 914400"/>
              <a:gd name="connsiteX2" fmla="*/ 1828800 w 1902702"/>
              <a:gd name="connsiteY2" fmla="*/ 457200 h 914400"/>
              <a:gd name="connsiteX3" fmla="*/ 1902702 w 1902702"/>
              <a:gd name="connsiteY3" fmla="*/ 914400 h 914400"/>
              <a:gd name="connsiteX4" fmla="*/ 0 w 1902702"/>
              <a:gd name="connsiteY4" fmla="*/ 914400 h 914400"/>
              <a:gd name="connsiteX5" fmla="*/ 158671 w 1902702"/>
              <a:gd name="connsiteY5" fmla="*/ 457201 h 914400"/>
              <a:gd name="connsiteX0" fmla="*/ 0 w 1828800"/>
              <a:gd name="connsiteY0" fmla="*/ 0 h 914400"/>
              <a:gd name="connsiteX1" fmla="*/ 1744033 w 1828800"/>
              <a:gd name="connsiteY1" fmla="*/ 0 h 914400"/>
              <a:gd name="connsiteX2" fmla="*/ 1828800 w 1828800"/>
              <a:gd name="connsiteY2" fmla="*/ 457200 h 914400"/>
              <a:gd name="connsiteX3" fmla="*/ 1744034 w 1828800"/>
              <a:gd name="connsiteY3" fmla="*/ 914400 h 914400"/>
              <a:gd name="connsiteX4" fmla="*/ 0 w 1828800"/>
              <a:gd name="connsiteY4" fmla="*/ 914400 h 914400"/>
              <a:gd name="connsiteX5" fmla="*/ 158671 w 1828800"/>
              <a:gd name="connsiteY5" fmla="*/ 457201 h 914400"/>
              <a:gd name="connsiteX0" fmla="*/ 0 w 1828800"/>
              <a:gd name="connsiteY0" fmla="*/ 0 h 914400"/>
              <a:gd name="connsiteX1" fmla="*/ 1744033 w 1828800"/>
              <a:gd name="connsiteY1" fmla="*/ 0 h 914400"/>
              <a:gd name="connsiteX2" fmla="*/ 1828800 w 1828800"/>
              <a:gd name="connsiteY2" fmla="*/ 457200 h 914400"/>
              <a:gd name="connsiteX3" fmla="*/ 1744034 w 1828800"/>
              <a:gd name="connsiteY3" fmla="*/ 914400 h 914400"/>
              <a:gd name="connsiteX4" fmla="*/ 0 w 1828800"/>
              <a:gd name="connsiteY4" fmla="*/ 914400 h 914400"/>
              <a:gd name="connsiteX5" fmla="*/ 158671 w 1828800"/>
              <a:gd name="connsiteY5" fmla="*/ 457201 h 914400"/>
              <a:gd name="connsiteX0" fmla="*/ 0 w 1828800"/>
              <a:gd name="connsiteY0" fmla="*/ 0 h 914400"/>
              <a:gd name="connsiteX1" fmla="*/ 1670129 w 1828800"/>
              <a:gd name="connsiteY1" fmla="*/ 0 h 914400"/>
              <a:gd name="connsiteX2" fmla="*/ 1828800 w 1828800"/>
              <a:gd name="connsiteY2" fmla="*/ 457200 h 914400"/>
              <a:gd name="connsiteX3" fmla="*/ 1744034 w 1828800"/>
              <a:gd name="connsiteY3" fmla="*/ 914400 h 914400"/>
              <a:gd name="connsiteX4" fmla="*/ 0 w 1828800"/>
              <a:gd name="connsiteY4" fmla="*/ 914400 h 914400"/>
              <a:gd name="connsiteX5" fmla="*/ 158671 w 1828800"/>
              <a:gd name="connsiteY5" fmla="*/ 457201 h 914400"/>
              <a:gd name="connsiteX0" fmla="*/ 0 w 1828800"/>
              <a:gd name="connsiteY0" fmla="*/ 0 h 914400"/>
              <a:gd name="connsiteX1" fmla="*/ 1670129 w 1828800"/>
              <a:gd name="connsiteY1" fmla="*/ 0 h 914400"/>
              <a:gd name="connsiteX2" fmla="*/ 1828800 w 1828800"/>
              <a:gd name="connsiteY2" fmla="*/ 457200 h 914400"/>
              <a:gd name="connsiteX3" fmla="*/ 1670129 w 1828800"/>
              <a:gd name="connsiteY3" fmla="*/ 914400 h 914400"/>
              <a:gd name="connsiteX4" fmla="*/ 0 w 1828800"/>
              <a:gd name="connsiteY4" fmla="*/ 914400 h 914400"/>
              <a:gd name="connsiteX5" fmla="*/ 158671 w 1828800"/>
              <a:gd name="connsiteY5" fmla="*/ 457201 h 914400"/>
              <a:gd name="connsiteX0" fmla="*/ 0 w 1828800"/>
              <a:gd name="connsiteY0" fmla="*/ 0 h 914400"/>
              <a:gd name="connsiteX1" fmla="*/ 1670129 w 1828800"/>
              <a:gd name="connsiteY1" fmla="*/ 0 h 914400"/>
              <a:gd name="connsiteX2" fmla="*/ 1828800 w 1828800"/>
              <a:gd name="connsiteY2" fmla="*/ 457200 h 914400"/>
              <a:gd name="connsiteX3" fmla="*/ 1670129 w 1828800"/>
              <a:gd name="connsiteY3" fmla="*/ 914400 h 914400"/>
              <a:gd name="connsiteX4" fmla="*/ 0 w 1828800"/>
              <a:gd name="connsiteY4" fmla="*/ 914400 h 914400"/>
              <a:gd name="connsiteX5" fmla="*/ 146243 w 1828800"/>
              <a:gd name="connsiteY5" fmla="*/ 457201 h 914400"/>
              <a:gd name="connsiteX0" fmla="*/ 0 w 1851467"/>
              <a:gd name="connsiteY0" fmla="*/ 0 h 914400"/>
              <a:gd name="connsiteX1" fmla="*/ 1851467 w 1851467"/>
              <a:gd name="connsiteY1" fmla="*/ 0 h 914400"/>
              <a:gd name="connsiteX2" fmla="*/ 1828800 w 1851467"/>
              <a:gd name="connsiteY2" fmla="*/ 457200 h 914400"/>
              <a:gd name="connsiteX3" fmla="*/ 1670129 w 1851467"/>
              <a:gd name="connsiteY3" fmla="*/ 914400 h 914400"/>
              <a:gd name="connsiteX4" fmla="*/ 0 w 1851467"/>
              <a:gd name="connsiteY4" fmla="*/ 914400 h 914400"/>
              <a:gd name="connsiteX5" fmla="*/ 146243 w 1851467"/>
              <a:gd name="connsiteY5" fmla="*/ 457201 h 914400"/>
              <a:gd name="connsiteX0" fmla="*/ 0 w 1851467"/>
              <a:gd name="connsiteY0" fmla="*/ 0 h 914400"/>
              <a:gd name="connsiteX1" fmla="*/ 1851467 w 1851467"/>
              <a:gd name="connsiteY1" fmla="*/ 0 h 914400"/>
              <a:gd name="connsiteX2" fmla="*/ 1828800 w 1851467"/>
              <a:gd name="connsiteY2" fmla="*/ 457200 h 914400"/>
              <a:gd name="connsiteX3" fmla="*/ 1851467 w 1851467"/>
              <a:gd name="connsiteY3" fmla="*/ 914400 h 914400"/>
              <a:gd name="connsiteX4" fmla="*/ 0 w 1851467"/>
              <a:gd name="connsiteY4" fmla="*/ 914400 h 914400"/>
              <a:gd name="connsiteX5" fmla="*/ 146243 w 1851467"/>
              <a:gd name="connsiteY5" fmla="*/ 457201 h 914400"/>
              <a:gd name="connsiteX0" fmla="*/ 0 w 1851467"/>
              <a:gd name="connsiteY0" fmla="*/ 0 h 914400"/>
              <a:gd name="connsiteX1" fmla="*/ 1851467 w 1851467"/>
              <a:gd name="connsiteY1" fmla="*/ 0 h 914400"/>
              <a:gd name="connsiteX2" fmla="*/ 1828800 w 1851467"/>
              <a:gd name="connsiteY2" fmla="*/ 457200 h 914400"/>
              <a:gd name="connsiteX3" fmla="*/ 1851467 w 1851467"/>
              <a:gd name="connsiteY3" fmla="*/ 914400 h 914400"/>
              <a:gd name="connsiteX4" fmla="*/ 0 w 1851467"/>
              <a:gd name="connsiteY4" fmla="*/ 914400 h 914400"/>
              <a:gd name="connsiteX5" fmla="*/ 146243 w 1851467"/>
              <a:gd name="connsiteY5" fmla="*/ 457201 h 914400"/>
              <a:gd name="connsiteX0" fmla="*/ 0 w 1851467"/>
              <a:gd name="connsiteY0" fmla="*/ 0 h 914400"/>
              <a:gd name="connsiteX1" fmla="*/ 1705224 w 1851467"/>
              <a:gd name="connsiteY1" fmla="*/ 0 h 914400"/>
              <a:gd name="connsiteX2" fmla="*/ 1828800 w 1851467"/>
              <a:gd name="connsiteY2" fmla="*/ 457200 h 914400"/>
              <a:gd name="connsiteX3" fmla="*/ 1851467 w 1851467"/>
              <a:gd name="connsiteY3" fmla="*/ 914400 h 914400"/>
              <a:gd name="connsiteX4" fmla="*/ 0 w 1851467"/>
              <a:gd name="connsiteY4" fmla="*/ 914400 h 914400"/>
              <a:gd name="connsiteX5" fmla="*/ 146243 w 1851467"/>
              <a:gd name="connsiteY5" fmla="*/ 457201 h 914400"/>
              <a:gd name="connsiteX0" fmla="*/ 0 w 1828800"/>
              <a:gd name="connsiteY0" fmla="*/ 0 h 914400"/>
              <a:gd name="connsiteX1" fmla="*/ 1705224 w 1828800"/>
              <a:gd name="connsiteY1" fmla="*/ 0 h 914400"/>
              <a:gd name="connsiteX2" fmla="*/ 1828800 w 1828800"/>
              <a:gd name="connsiteY2" fmla="*/ 457200 h 914400"/>
              <a:gd name="connsiteX3" fmla="*/ 1705224 w 1828800"/>
              <a:gd name="connsiteY3" fmla="*/ 914400 h 914400"/>
              <a:gd name="connsiteX4" fmla="*/ 0 w 1828800"/>
              <a:gd name="connsiteY4" fmla="*/ 914400 h 914400"/>
              <a:gd name="connsiteX5" fmla="*/ 146243 w 1828800"/>
              <a:gd name="connsiteY5" fmla="*/ 457201 h 914400"/>
              <a:gd name="connsiteX0" fmla="*/ 0 w 1828800"/>
              <a:gd name="connsiteY0" fmla="*/ 0 h 914400"/>
              <a:gd name="connsiteX1" fmla="*/ 1705224 w 1828800"/>
              <a:gd name="connsiteY1" fmla="*/ 0 h 914400"/>
              <a:gd name="connsiteX2" fmla="*/ 1828800 w 1828800"/>
              <a:gd name="connsiteY2" fmla="*/ 457200 h 914400"/>
              <a:gd name="connsiteX3" fmla="*/ 1705224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51881 w 1828800"/>
              <a:gd name="connsiteY1" fmla="*/ 0 h 914400"/>
              <a:gd name="connsiteX2" fmla="*/ 1828800 w 1828800"/>
              <a:gd name="connsiteY2" fmla="*/ 457200 h 914400"/>
              <a:gd name="connsiteX3" fmla="*/ 1705224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51881 w 1828800"/>
              <a:gd name="connsiteY1" fmla="*/ 0 h 914400"/>
              <a:gd name="connsiteX2" fmla="*/ 1828800 w 1828800"/>
              <a:gd name="connsiteY2" fmla="*/ 457200 h 914400"/>
              <a:gd name="connsiteX3" fmla="*/ 1651881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51881 w 1828800"/>
              <a:gd name="connsiteY1" fmla="*/ 0 h 914400"/>
              <a:gd name="connsiteX2" fmla="*/ 1828800 w 1828800"/>
              <a:gd name="connsiteY2" fmla="*/ 457200 h 914400"/>
              <a:gd name="connsiteX3" fmla="*/ 165188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5188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758541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758541 w 1828800"/>
              <a:gd name="connsiteY1" fmla="*/ 0 h 914400"/>
              <a:gd name="connsiteX2" fmla="*/ 1828800 w 1828800"/>
              <a:gd name="connsiteY2" fmla="*/ 457200 h 914400"/>
              <a:gd name="connsiteX3" fmla="*/ 1758541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758541 w 1828800"/>
              <a:gd name="connsiteY1" fmla="*/ 0 h 914400"/>
              <a:gd name="connsiteX2" fmla="*/ 1828800 w 1828800"/>
              <a:gd name="connsiteY2" fmla="*/ 457200 h 914400"/>
              <a:gd name="connsiteX3" fmla="*/ 1758541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660128 w 1828800"/>
              <a:gd name="connsiteY1" fmla="*/ 0 h 914400"/>
              <a:gd name="connsiteX2" fmla="*/ 1828800 w 1828800"/>
              <a:gd name="connsiteY2" fmla="*/ 457200 h 914400"/>
              <a:gd name="connsiteX3" fmla="*/ 1758541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660128 w 1828800"/>
              <a:gd name="connsiteY1" fmla="*/ 0 h 914400"/>
              <a:gd name="connsiteX2" fmla="*/ 1828800 w 1828800"/>
              <a:gd name="connsiteY2" fmla="*/ 457200 h 914400"/>
              <a:gd name="connsiteX3" fmla="*/ 1660128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660128 w 1828800"/>
              <a:gd name="connsiteY1" fmla="*/ 0 h 914400"/>
              <a:gd name="connsiteX2" fmla="*/ 1828800 w 1828800"/>
              <a:gd name="connsiteY2" fmla="*/ 457200 h 914400"/>
              <a:gd name="connsiteX3" fmla="*/ 1660128 w 1828800"/>
              <a:gd name="connsiteY3" fmla="*/ 914400 h 914400"/>
              <a:gd name="connsiteX4" fmla="*/ 0 w 1828800"/>
              <a:gd name="connsiteY4" fmla="*/ 914400 h 914400"/>
              <a:gd name="connsiteX5" fmla="*/ 174766 w 1828800"/>
              <a:gd name="connsiteY5" fmla="*/ 457201 h 914400"/>
              <a:gd name="connsiteX0" fmla="*/ 0 w 1963352"/>
              <a:gd name="connsiteY0" fmla="*/ 0 h 914400"/>
              <a:gd name="connsiteX1" fmla="*/ 1963352 w 1963352"/>
              <a:gd name="connsiteY1" fmla="*/ 0 h 914400"/>
              <a:gd name="connsiteX2" fmla="*/ 1828800 w 1963352"/>
              <a:gd name="connsiteY2" fmla="*/ 457200 h 914400"/>
              <a:gd name="connsiteX3" fmla="*/ 1660128 w 1963352"/>
              <a:gd name="connsiteY3" fmla="*/ 914400 h 914400"/>
              <a:gd name="connsiteX4" fmla="*/ 0 w 1963352"/>
              <a:gd name="connsiteY4" fmla="*/ 914400 h 914400"/>
              <a:gd name="connsiteX5" fmla="*/ 174766 w 1963352"/>
              <a:gd name="connsiteY5" fmla="*/ 457201 h 914400"/>
              <a:gd name="connsiteX0" fmla="*/ 0 w 1963352"/>
              <a:gd name="connsiteY0" fmla="*/ 0 h 914400"/>
              <a:gd name="connsiteX1" fmla="*/ 1963352 w 1963352"/>
              <a:gd name="connsiteY1" fmla="*/ 0 h 914400"/>
              <a:gd name="connsiteX2" fmla="*/ 1828800 w 1963352"/>
              <a:gd name="connsiteY2" fmla="*/ 457200 h 914400"/>
              <a:gd name="connsiteX3" fmla="*/ 1963351 w 1963352"/>
              <a:gd name="connsiteY3" fmla="*/ 914400 h 914400"/>
              <a:gd name="connsiteX4" fmla="*/ 0 w 1963352"/>
              <a:gd name="connsiteY4" fmla="*/ 914400 h 914400"/>
              <a:gd name="connsiteX5" fmla="*/ 174766 w 1963352"/>
              <a:gd name="connsiteY5" fmla="*/ 457201 h 914400"/>
              <a:gd name="connsiteX0" fmla="*/ 0 w 1963352"/>
              <a:gd name="connsiteY0" fmla="*/ 0 h 914400"/>
              <a:gd name="connsiteX1" fmla="*/ 1963352 w 1963352"/>
              <a:gd name="connsiteY1" fmla="*/ 0 h 914400"/>
              <a:gd name="connsiteX2" fmla="*/ 1828800 w 1963352"/>
              <a:gd name="connsiteY2" fmla="*/ 457200 h 914400"/>
              <a:gd name="connsiteX3" fmla="*/ 1963351 w 1963352"/>
              <a:gd name="connsiteY3" fmla="*/ 914400 h 914400"/>
              <a:gd name="connsiteX4" fmla="*/ 0 w 1963352"/>
              <a:gd name="connsiteY4" fmla="*/ 914400 h 914400"/>
              <a:gd name="connsiteX5" fmla="*/ 174765 w 1963352"/>
              <a:gd name="connsiteY5" fmla="*/ 457201 h 914400"/>
              <a:gd name="connsiteX0" fmla="*/ 0 w 1963351"/>
              <a:gd name="connsiteY0" fmla="*/ 0 h 914400"/>
              <a:gd name="connsiteX1" fmla="*/ 1788586 w 1963351"/>
              <a:gd name="connsiteY1" fmla="*/ 0 h 914400"/>
              <a:gd name="connsiteX2" fmla="*/ 1828800 w 1963351"/>
              <a:gd name="connsiteY2" fmla="*/ 457200 h 914400"/>
              <a:gd name="connsiteX3" fmla="*/ 1963351 w 1963351"/>
              <a:gd name="connsiteY3" fmla="*/ 914400 h 914400"/>
              <a:gd name="connsiteX4" fmla="*/ 0 w 1963351"/>
              <a:gd name="connsiteY4" fmla="*/ 914400 h 914400"/>
              <a:gd name="connsiteX5" fmla="*/ 174765 w 1963351"/>
              <a:gd name="connsiteY5" fmla="*/ 457201 h 914400"/>
              <a:gd name="connsiteX0" fmla="*/ 0 w 1828800"/>
              <a:gd name="connsiteY0" fmla="*/ 0 h 914400"/>
              <a:gd name="connsiteX1" fmla="*/ 1788586 w 1828800"/>
              <a:gd name="connsiteY1" fmla="*/ 0 h 914400"/>
              <a:gd name="connsiteX2" fmla="*/ 1828800 w 1828800"/>
              <a:gd name="connsiteY2" fmla="*/ 457200 h 914400"/>
              <a:gd name="connsiteX3" fmla="*/ 1788587 w 1828800"/>
              <a:gd name="connsiteY3" fmla="*/ 914400 h 914400"/>
              <a:gd name="connsiteX4" fmla="*/ 0 w 1828800"/>
              <a:gd name="connsiteY4" fmla="*/ 914400 h 914400"/>
              <a:gd name="connsiteX5" fmla="*/ 174765 w 1828800"/>
              <a:gd name="connsiteY5" fmla="*/ 457201 h 914400"/>
              <a:gd name="connsiteX0" fmla="*/ 0 w 1828800"/>
              <a:gd name="connsiteY0" fmla="*/ 0 h 914400"/>
              <a:gd name="connsiteX1" fmla="*/ 1788586 w 1828800"/>
              <a:gd name="connsiteY1" fmla="*/ 0 h 914400"/>
              <a:gd name="connsiteX2" fmla="*/ 1828800 w 1828800"/>
              <a:gd name="connsiteY2" fmla="*/ 457200 h 914400"/>
              <a:gd name="connsiteX3" fmla="*/ 1788587 w 1828800"/>
              <a:gd name="connsiteY3" fmla="*/ 914400 h 914400"/>
              <a:gd name="connsiteX4" fmla="*/ 0 w 1828800"/>
              <a:gd name="connsiteY4" fmla="*/ 914400 h 914400"/>
              <a:gd name="connsiteX5" fmla="*/ 174766 w 1828800"/>
              <a:gd name="connsiteY5" fmla="*/ 457201 h 914400"/>
              <a:gd name="connsiteX0" fmla="*/ 0 w 1828800"/>
              <a:gd name="connsiteY0" fmla="*/ 0 h 914400"/>
              <a:gd name="connsiteX1" fmla="*/ 1654033 w 1828800"/>
              <a:gd name="connsiteY1" fmla="*/ 0 h 914400"/>
              <a:gd name="connsiteX2" fmla="*/ 1828800 w 1828800"/>
              <a:gd name="connsiteY2" fmla="*/ 457200 h 914400"/>
              <a:gd name="connsiteX3" fmla="*/ 1788587 w 1828800"/>
              <a:gd name="connsiteY3" fmla="*/ 914400 h 914400"/>
              <a:gd name="connsiteX4" fmla="*/ 0 w 1828800"/>
              <a:gd name="connsiteY4" fmla="*/ 914400 h 914400"/>
              <a:gd name="connsiteX5" fmla="*/ 174766 w 1828800"/>
              <a:gd name="connsiteY5" fmla="*/ 457201 h 914400"/>
              <a:gd name="connsiteX0" fmla="*/ 0 w 1828800"/>
              <a:gd name="connsiteY0" fmla="*/ 0 h 914400"/>
              <a:gd name="connsiteX1" fmla="*/ 1654033 w 1828800"/>
              <a:gd name="connsiteY1" fmla="*/ 0 h 914400"/>
              <a:gd name="connsiteX2" fmla="*/ 1828800 w 1828800"/>
              <a:gd name="connsiteY2" fmla="*/ 457200 h 914400"/>
              <a:gd name="connsiteX3" fmla="*/ 1654033 w 1828800"/>
              <a:gd name="connsiteY3" fmla="*/ 914400 h 914400"/>
              <a:gd name="connsiteX4" fmla="*/ 0 w 1828800"/>
              <a:gd name="connsiteY4" fmla="*/ 914400 h 914400"/>
              <a:gd name="connsiteX5" fmla="*/ 174766 w 1828800"/>
              <a:gd name="connsiteY5" fmla="*/ 457201 h 914400"/>
              <a:gd name="connsiteX0" fmla="*/ 0 w 1828800"/>
              <a:gd name="connsiteY0" fmla="*/ 0 h 914400"/>
              <a:gd name="connsiteX1" fmla="*/ 1654033 w 1828800"/>
              <a:gd name="connsiteY1" fmla="*/ 0 h 914400"/>
              <a:gd name="connsiteX2" fmla="*/ 1828800 w 1828800"/>
              <a:gd name="connsiteY2" fmla="*/ 457200 h 914400"/>
              <a:gd name="connsiteX3" fmla="*/ 1654033 w 1828800"/>
              <a:gd name="connsiteY3" fmla="*/ 914400 h 914400"/>
              <a:gd name="connsiteX4" fmla="*/ 0 w 1828800"/>
              <a:gd name="connsiteY4" fmla="*/ 914400 h 914400"/>
              <a:gd name="connsiteX5" fmla="*/ 157761 w 1828800"/>
              <a:gd name="connsiteY5" fmla="*/ 457201 h 914400"/>
              <a:gd name="connsiteX0" fmla="*/ 0 w 1828800"/>
              <a:gd name="connsiteY0" fmla="*/ 0 h 914400"/>
              <a:gd name="connsiteX1" fmla="*/ 1671038 w 1828800"/>
              <a:gd name="connsiteY1" fmla="*/ 0 h 914400"/>
              <a:gd name="connsiteX2" fmla="*/ 1828800 w 1828800"/>
              <a:gd name="connsiteY2" fmla="*/ 457200 h 914400"/>
              <a:gd name="connsiteX3" fmla="*/ 1654033 w 1828800"/>
              <a:gd name="connsiteY3" fmla="*/ 914400 h 914400"/>
              <a:gd name="connsiteX4" fmla="*/ 0 w 1828800"/>
              <a:gd name="connsiteY4" fmla="*/ 914400 h 914400"/>
              <a:gd name="connsiteX5" fmla="*/ 157761 w 1828800"/>
              <a:gd name="connsiteY5" fmla="*/ 457201 h 914400"/>
              <a:gd name="connsiteX0" fmla="*/ 0 w 1828800"/>
              <a:gd name="connsiteY0" fmla="*/ 0 h 914400"/>
              <a:gd name="connsiteX1" fmla="*/ 1671038 w 1828800"/>
              <a:gd name="connsiteY1" fmla="*/ 0 h 914400"/>
              <a:gd name="connsiteX2" fmla="*/ 1828800 w 1828800"/>
              <a:gd name="connsiteY2" fmla="*/ 457200 h 914400"/>
              <a:gd name="connsiteX3" fmla="*/ 1671038 w 1828800"/>
              <a:gd name="connsiteY3" fmla="*/ 914400 h 914400"/>
              <a:gd name="connsiteX4" fmla="*/ 0 w 1828800"/>
              <a:gd name="connsiteY4" fmla="*/ 914400 h 914400"/>
              <a:gd name="connsiteX5" fmla="*/ 157761 w 1828800"/>
              <a:gd name="connsiteY5" fmla="*/ 457201 h 914400"/>
              <a:gd name="connsiteX0" fmla="*/ 0 w 1828800"/>
              <a:gd name="connsiteY0" fmla="*/ 0 h 914400"/>
              <a:gd name="connsiteX1" fmla="*/ 1671038 w 1828800"/>
              <a:gd name="connsiteY1" fmla="*/ 0 h 914400"/>
              <a:gd name="connsiteX2" fmla="*/ 1828800 w 1828800"/>
              <a:gd name="connsiteY2" fmla="*/ 457200 h 914400"/>
              <a:gd name="connsiteX3" fmla="*/ 1671038 w 1828800"/>
              <a:gd name="connsiteY3" fmla="*/ 914400 h 914400"/>
              <a:gd name="connsiteX4" fmla="*/ 0 w 1828800"/>
              <a:gd name="connsiteY4" fmla="*/ 914400 h 914400"/>
              <a:gd name="connsiteX5" fmla="*/ 215317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71038 w 1828800"/>
              <a:gd name="connsiteY3" fmla="*/ 914400 h 914400"/>
              <a:gd name="connsiteX4" fmla="*/ 0 w 1828800"/>
              <a:gd name="connsiteY4" fmla="*/ 914400 h 914400"/>
              <a:gd name="connsiteX5" fmla="*/ 215317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15317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591626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91626" y="0"/>
                </a:lnTo>
                <a:lnTo>
                  <a:pt x="1828800" y="457200"/>
                </a:lnTo>
                <a:lnTo>
                  <a:pt x="1591626" y="914400"/>
                </a:lnTo>
                <a:lnTo>
                  <a:pt x="0" y="914400"/>
                </a:lnTo>
                <a:lnTo>
                  <a:pt x="237174" y="457201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rtlCol="0" anchor="ctr"/>
          <a:lstStyle/>
          <a:p>
            <a:pPr algn="ctr"/>
            <a:endParaRPr lang="en-US" sz="1600" b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24" name="TextBox 60">
            <a:extLst>
              <a:ext uri="{FF2B5EF4-FFF2-40B4-BE49-F238E27FC236}">
                <a16:creationId xmlns:a16="http://schemas.microsoft.com/office/drawing/2014/main" id="{CA19619A-4E54-D271-416A-4F0C66F90E38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219282" y="1433612"/>
            <a:ext cx="1419565" cy="750648"/>
          </a:xfrm>
          <a:prstGeom prst="rect">
            <a:avLst/>
          </a:prstGeom>
          <a:noFill/>
          <a:ln>
            <a:noFill/>
          </a:ln>
        </p:spPr>
        <p:txBody>
          <a:bodyPr vert="horz" lIns="27432" tIns="45720" rIns="91440" bIns="4572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Clr>
                <a:srgbClr val="FFFFFF"/>
              </a:buClr>
              <a:buNone/>
            </a:pPr>
            <a:r>
              <a:rPr lang="en-US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Device </a:t>
            </a:r>
            <a:r>
              <a:rPr lang="en-US" b="1" dirty="0" err="1">
                <a:solidFill>
                  <a:schemeClr val="accent2"/>
                </a:solidFill>
                <a:latin typeface="Century Gothic" panose="020B0502020202020204" pitchFamily="34" charset="0"/>
              </a:rPr>
              <a:t>manufac-turing</a:t>
            </a:r>
            <a:r>
              <a:rPr lang="en-US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246" name="Freeform: Shape 38">
            <a:extLst>
              <a:ext uri="{FF2B5EF4-FFF2-40B4-BE49-F238E27FC236}">
                <a16:creationId xmlns:a16="http://schemas.microsoft.com/office/drawing/2014/main" id="{F0250488-C2DC-EA73-4C9D-691256B84D3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538042" y="1373075"/>
            <a:ext cx="1994377" cy="8717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591626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591626 w 1828800"/>
              <a:gd name="connsiteY3" fmla="*/ 914400 h 914400"/>
              <a:gd name="connsiteX4" fmla="*/ 0 w 1828800"/>
              <a:gd name="connsiteY4" fmla="*/ 914400 h 914400"/>
              <a:gd name="connsiteX5" fmla="*/ 218541 w 1828800"/>
              <a:gd name="connsiteY5" fmla="*/ 457201 h 914400"/>
              <a:gd name="connsiteX6" fmla="*/ 0 w 1828800"/>
              <a:gd name="connsiteY6" fmla="*/ 0 h 914400"/>
              <a:gd name="connsiteX0" fmla="*/ 0 w 1800851"/>
              <a:gd name="connsiteY0" fmla="*/ 0 h 914400"/>
              <a:gd name="connsiteX1" fmla="*/ 1591626 w 1800851"/>
              <a:gd name="connsiteY1" fmla="*/ 0 h 914400"/>
              <a:gd name="connsiteX2" fmla="*/ 1800851 w 1800851"/>
              <a:gd name="connsiteY2" fmla="*/ 467857 h 914400"/>
              <a:gd name="connsiteX3" fmla="*/ 1591626 w 1800851"/>
              <a:gd name="connsiteY3" fmla="*/ 914400 h 914400"/>
              <a:gd name="connsiteX4" fmla="*/ 0 w 1800851"/>
              <a:gd name="connsiteY4" fmla="*/ 914400 h 914400"/>
              <a:gd name="connsiteX5" fmla="*/ 218541 w 1800851"/>
              <a:gd name="connsiteY5" fmla="*/ 457201 h 914400"/>
              <a:gd name="connsiteX6" fmla="*/ 0 w 1800851"/>
              <a:gd name="connsiteY6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0851" h="914400">
                <a:moveTo>
                  <a:pt x="0" y="0"/>
                </a:moveTo>
                <a:lnTo>
                  <a:pt x="1591626" y="0"/>
                </a:lnTo>
                <a:lnTo>
                  <a:pt x="1800851" y="467857"/>
                </a:lnTo>
                <a:lnTo>
                  <a:pt x="1591626" y="914400"/>
                </a:lnTo>
                <a:lnTo>
                  <a:pt x="0" y="914400"/>
                </a:lnTo>
                <a:lnTo>
                  <a:pt x="218541" y="457201"/>
                </a:lnTo>
                <a:cubicBezTo>
                  <a:pt x="139483" y="304801"/>
                  <a:pt x="79058" y="152400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rtlCol="0" anchor="ctr"/>
          <a:lstStyle/>
          <a:p>
            <a:pPr algn="ctr"/>
            <a:endParaRPr lang="en-US" sz="1600" b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47" name="Freeform: Shape 48">
            <a:extLst>
              <a:ext uri="{FF2B5EF4-FFF2-40B4-BE49-F238E27FC236}">
                <a16:creationId xmlns:a16="http://schemas.microsoft.com/office/drawing/2014/main" id="{184A5D59-6600-6480-AA87-DE3D8604B87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538041" y="1808935"/>
            <a:ext cx="1994377" cy="435861"/>
          </a:xfrm>
          <a:custGeom>
            <a:avLst/>
            <a:gdLst>
              <a:gd name="connsiteX0" fmla="*/ 1664208 w 1828800"/>
              <a:gd name="connsiteY0" fmla="*/ 0 h 457200"/>
              <a:gd name="connsiteX1" fmla="*/ 1664208 w 1828800"/>
              <a:gd name="connsiteY1" fmla="*/ 0 h 457200"/>
              <a:gd name="connsiteX2" fmla="*/ 1828800 w 1828800"/>
              <a:gd name="connsiteY2" fmla="*/ 457200 h 457200"/>
              <a:gd name="connsiteX3" fmla="*/ 0 w 1828800"/>
              <a:gd name="connsiteY3" fmla="*/ 457200 h 457200"/>
              <a:gd name="connsiteX0" fmla="*/ 1828800 w 1828800"/>
              <a:gd name="connsiteY0" fmla="*/ 457200 h 457200"/>
              <a:gd name="connsiteX1" fmla="*/ 1664208 w 1828800"/>
              <a:gd name="connsiteY1" fmla="*/ 0 h 457200"/>
              <a:gd name="connsiteX2" fmla="*/ 1828800 w 1828800"/>
              <a:gd name="connsiteY2" fmla="*/ 457200 h 457200"/>
              <a:gd name="connsiteX3" fmla="*/ 0 w 1828800"/>
              <a:gd name="connsiteY3" fmla="*/ 457200 h 457200"/>
              <a:gd name="connsiteX0" fmla="*/ 0 w 1828800"/>
              <a:gd name="connsiteY0" fmla="*/ 457200 h 457200"/>
              <a:gd name="connsiteX1" fmla="*/ 1664208 w 1828800"/>
              <a:gd name="connsiteY1" fmla="*/ 0 h 457200"/>
              <a:gd name="connsiteX2" fmla="*/ 1828800 w 1828800"/>
              <a:gd name="connsiteY2" fmla="*/ 457200 h 457200"/>
              <a:gd name="connsiteX3" fmla="*/ 0 w 1828800"/>
              <a:gd name="connsiteY3" fmla="*/ 457200 h 457200"/>
              <a:gd name="connsiteX0" fmla="*/ 0 w 1828800"/>
              <a:gd name="connsiteY0" fmla="*/ 0 h 457200"/>
              <a:gd name="connsiteX1" fmla="*/ 1664208 w 1828800"/>
              <a:gd name="connsiteY1" fmla="*/ 0 h 457200"/>
              <a:gd name="connsiteX2" fmla="*/ 1828800 w 1828800"/>
              <a:gd name="connsiteY2" fmla="*/ 457200 h 457200"/>
              <a:gd name="connsiteX3" fmla="*/ 0 w 1828800"/>
              <a:gd name="connsiteY3" fmla="*/ 457200 h 457200"/>
              <a:gd name="connsiteX0" fmla="*/ 1676400 w 1828800"/>
              <a:gd name="connsiteY0" fmla="*/ 304800 h 457200"/>
              <a:gd name="connsiteX1" fmla="*/ 1664208 w 1828800"/>
              <a:gd name="connsiteY1" fmla="*/ 0 h 457200"/>
              <a:gd name="connsiteX2" fmla="*/ 1828800 w 1828800"/>
              <a:gd name="connsiteY2" fmla="*/ 457200 h 457200"/>
              <a:gd name="connsiteX3" fmla="*/ 0 w 1828800"/>
              <a:gd name="connsiteY3" fmla="*/ 457200 h 457200"/>
              <a:gd name="connsiteX0" fmla="*/ 1676400 w 1828800"/>
              <a:gd name="connsiteY0" fmla="*/ 0 h 457200"/>
              <a:gd name="connsiteX1" fmla="*/ 1511808 w 1828800"/>
              <a:gd name="connsiteY1" fmla="*/ 457200 h 457200"/>
              <a:gd name="connsiteX2" fmla="*/ 1828800 w 1828800"/>
              <a:gd name="connsiteY2" fmla="*/ 152400 h 457200"/>
              <a:gd name="connsiteX3" fmla="*/ 0 w 1828800"/>
              <a:gd name="connsiteY3" fmla="*/ 152400 h 457200"/>
              <a:gd name="connsiteX0" fmla="*/ 1828800 w 1828800"/>
              <a:gd name="connsiteY0" fmla="*/ 0 h 457200"/>
              <a:gd name="connsiteX1" fmla="*/ 1664208 w 1828800"/>
              <a:gd name="connsiteY1" fmla="*/ 457200 h 457200"/>
              <a:gd name="connsiteX2" fmla="*/ 0 w 1828800"/>
              <a:gd name="connsiteY2" fmla="*/ 457200 h 457200"/>
              <a:gd name="connsiteX3" fmla="*/ 152400 w 1828800"/>
              <a:gd name="connsiteY3" fmla="*/ 152400 h 457200"/>
              <a:gd name="connsiteX0" fmla="*/ 1828800 w 1828800"/>
              <a:gd name="connsiteY0" fmla="*/ 0 h 457200"/>
              <a:gd name="connsiteX1" fmla="*/ 1664208 w 1828800"/>
              <a:gd name="connsiteY1" fmla="*/ 457200 h 457200"/>
              <a:gd name="connsiteX2" fmla="*/ 0 w 1828800"/>
              <a:gd name="connsiteY2" fmla="*/ 457200 h 457200"/>
              <a:gd name="connsiteX3" fmla="*/ 0 w 1828800"/>
              <a:gd name="connsiteY3" fmla="*/ 0 h 457200"/>
              <a:gd name="connsiteX0" fmla="*/ 980237 w 1664208"/>
              <a:gd name="connsiteY0" fmla="*/ 0 h 457200"/>
              <a:gd name="connsiteX1" fmla="*/ 1664208 w 1664208"/>
              <a:gd name="connsiteY1" fmla="*/ 457200 h 457200"/>
              <a:gd name="connsiteX2" fmla="*/ 0 w 1664208"/>
              <a:gd name="connsiteY2" fmla="*/ 457200 h 457200"/>
              <a:gd name="connsiteX3" fmla="*/ 0 w 1664208"/>
              <a:gd name="connsiteY3" fmla="*/ 0 h 457200"/>
              <a:gd name="connsiteX0" fmla="*/ 980237 w 980237"/>
              <a:gd name="connsiteY0" fmla="*/ 0 h 457200"/>
              <a:gd name="connsiteX1" fmla="*/ 848563 w 980237"/>
              <a:gd name="connsiteY1" fmla="*/ 457200 h 457200"/>
              <a:gd name="connsiteX2" fmla="*/ 0 w 980237"/>
              <a:gd name="connsiteY2" fmla="*/ 457200 h 457200"/>
              <a:gd name="connsiteX3" fmla="*/ 0 w 980237"/>
              <a:gd name="connsiteY3" fmla="*/ 0 h 457200"/>
              <a:gd name="connsiteX0" fmla="*/ 980237 w 980237"/>
              <a:gd name="connsiteY0" fmla="*/ 0 h 457200"/>
              <a:gd name="connsiteX1" fmla="*/ 848563 w 980237"/>
              <a:gd name="connsiteY1" fmla="*/ 457200 h 457200"/>
              <a:gd name="connsiteX2" fmla="*/ 0 w 980237"/>
              <a:gd name="connsiteY2" fmla="*/ 457200 h 457200"/>
              <a:gd name="connsiteX3" fmla="*/ 0 w 980237"/>
              <a:gd name="connsiteY3" fmla="*/ 0 h 457200"/>
              <a:gd name="connsiteX0" fmla="*/ 980237 w 980237"/>
              <a:gd name="connsiteY0" fmla="*/ 0 h 457200"/>
              <a:gd name="connsiteX1" fmla="*/ 848563 w 980237"/>
              <a:gd name="connsiteY1" fmla="*/ 457200 h 457200"/>
              <a:gd name="connsiteX2" fmla="*/ 0 w 980237"/>
              <a:gd name="connsiteY2" fmla="*/ 457200 h 457200"/>
              <a:gd name="connsiteX3" fmla="*/ 0 w 980237"/>
              <a:gd name="connsiteY3" fmla="*/ 0 h 457200"/>
              <a:gd name="connsiteX0" fmla="*/ 996696 w 996696"/>
              <a:gd name="connsiteY0" fmla="*/ 0 h 457200"/>
              <a:gd name="connsiteX1" fmla="*/ 848563 w 996696"/>
              <a:gd name="connsiteY1" fmla="*/ 457200 h 457200"/>
              <a:gd name="connsiteX2" fmla="*/ 0 w 996696"/>
              <a:gd name="connsiteY2" fmla="*/ 457200 h 457200"/>
              <a:gd name="connsiteX3" fmla="*/ 0 w 996696"/>
              <a:gd name="connsiteY3" fmla="*/ 0 h 457200"/>
              <a:gd name="connsiteX0" fmla="*/ 996696 w 996696"/>
              <a:gd name="connsiteY0" fmla="*/ 0 h 457200"/>
              <a:gd name="connsiteX1" fmla="*/ 832103 w 996696"/>
              <a:gd name="connsiteY1" fmla="*/ 457200 h 457200"/>
              <a:gd name="connsiteX2" fmla="*/ 0 w 996696"/>
              <a:gd name="connsiteY2" fmla="*/ 457200 h 457200"/>
              <a:gd name="connsiteX3" fmla="*/ 0 w 996696"/>
              <a:gd name="connsiteY3" fmla="*/ 0 h 457200"/>
              <a:gd name="connsiteX0" fmla="*/ 996697 w 996697"/>
              <a:gd name="connsiteY0" fmla="*/ 0 h 457200"/>
              <a:gd name="connsiteX1" fmla="*/ 832104 w 996697"/>
              <a:gd name="connsiteY1" fmla="*/ 457200 h 457200"/>
              <a:gd name="connsiteX2" fmla="*/ 0 w 996697"/>
              <a:gd name="connsiteY2" fmla="*/ 457200 h 457200"/>
              <a:gd name="connsiteX3" fmla="*/ 1 w 996697"/>
              <a:gd name="connsiteY3" fmla="*/ 0 h 457200"/>
              <a:gd name="connsiteX0" fmla="*/ 996697 w 996697"/>
              <a:gd name="connsiteY0" fmla="*/ 0 h 457200"/>
              <a:gd name="connsiteX1" fmla="*/ 832104 w 996697"/>
              <a:gd name="connsiteY1" fmla="*/ 457200 h 457200"/>
              <a:gd name="connsiteX2" fmla="*/ 0 w 996697"/>
              <a:gd name="connsiteY2" fmla="*/ 457200 h 457200"/>
              <a:gd name="connsiteX3" fmla="*/ 1 w 996697"/>
              <a:gd name="connsiteY3" fmla="*/ 0 h 457200"/>
              <a:gd name="connsiteX0" fmla="*/ 983633 w 983633"/>
              <a:gd name="connsiteY0" fmla="*/ 0 h 457200"/>
              <a:gd name="connsiteX1" fmla="*/ 832104 w 983633"/>
              <a:gd name="connsiteY1" fmla="*/ 457200 h 457200"/>
              <a:gd name="connsiteX2" fmla="*/ 0 w 983633"/>
              <a:gd name="connsiteY2" fmla="*/ 457200 h 457200"/>
              <a:gd name="connsiteX3" fmla="*/ 1 w 983633"/>
              <a:gd name="connsiteY3" fmla="*/ 0 h 457200"/>
              <a:gd name="connsiteX0" fmla="*/ 983633 w 983633"/>
              <a:gd name="connsiteY0" fmla="*/ 0 h 457200"/>
              <a:gd name="connsiteX1" fmla="*/ 845167 w 983633"/>
              <a:gd name="connsiteY1" fmla="*/ 457199 h 457200"/>
              <a:gd name="connsiteX2" fmla="*/ 0 w 983633"/>
              <a:gd name="connsiteY2" fmla="*/ 457200 h 457200"/>
              <a:gd name="connsiteX3" fmla="*/ 1 w 983633"/>
              <a:gd name="connsiteY3" fmla="*/ 0 h 457200"/>
              <a:gd name="connsiteX0" fmla="*/ 983633 w 983633"/>
              <a:gd name="connsiteY0" fmla="*/ 0 h 457199"/>
              <a:gd name="connsiteX1" fmla="*/ 845167 w 983633"/>
              <a:gd name="connsiteY1" fmla="*/ 457199 h 457199"/>
              <a:gd name="connsiteX2" fmla="*/ 0 w 983633"/>
              <a:gd name="connsiteY2" fmla="*/ 457199 h 457199"/>
              <a:gd name="connsiteX3" fmla="*/ 1 w 983633"/>
              <a:gd name="connsiteY3" fmla="*/ 0 h 457199"/>
              <a:gd name="connsiteX0" fmla="*/ 983633 w 983633"/>
              <a:gd name="connsiteY0" fmla="*/ 0 h 457199"/>
              <a:gd name="connsiteX1" fmla="*/ 845167 w 983633"/>
              <a:gd name="connsiteY1" fmla="*/ 457199 h 457199"/>
              <a:gd name="connsiteX2" fmla="*/ 0 w 983633"/>
              <a:gd name="connsiteY2" fmla="*/ 457199 h 457199"/>
              <a:gd name="connsiteX3" fmla="*/ 0 w 983633"/>
              <a:gd name="connsiteY3" fmla="*/ 0 h 457199"/>
              <a:gd name="connsiteX0" fmla="*/ 983634 w 983634"/>
              <a:gd name="connsiteY0" fmla="*/ 0 h 457199"/>
              <a:gd name="connsiteX1" fmla="*/ 845167 w 983634"/>
              <a:gd name="connsiteY1" fmla="*/ 457199 h 457199"/>
              <a:gd name="connsiteX2" fmla="*/ 0 w 983634"/>
              <a:gd name="connsiteY2" fmla="*/ 457199 h 457199"/>
              <a:gd name="connsiteX3" fmla="*/ 0 w 983634"/>
              <a:gd name="connsiteY3" fmla="*/ 0 h 457199"/>
              <a:gd name="connsiteX0" fmla="*/ 983634 w 983634"/>
              <a:gd name="connsiteY0" fmla="*/ 0 h 457199"/>
              <a:gd name="connsiteX1" fmla="*/ 845167 w 983634"/>
              <a:gd name="connsiteY1" fmla="*/ 457199 h 457199"/>
              <a:gd name="connsiteX2" fmla="*/ 0 w 983634"/>
              <a:gd name="connsiteY2" fmla="*/ 457199 h 457199"/>
              <a:gd name="connsiteX3" fmla="*/ 0 w 983634"/>
              <a:gd name="connsiteY3" fmla="*/ 0 h 457199"/>
              <a:gd name="connsiteX0" fmla="*/ 983635 w 983635"/>
              <a:gd name="connsiteY0" fmla="*/ 0 h 457199"/>
              <a:gd name="connsiteX1" fmla="*/ 845168 w 983635"/>
              <a:gd name="connsiteY1" fmla="*/ 457199 h 457199"/>
              <a:gd name="connsiteX2" fmla="*/ 0 w 983635"/>
              <a:gd name="connsiteY2" fmla="*/ 457199 h 457199"/>
              <a:gd name="connsiteX3" fmla="*/ 1 w 983635"/>
              <a:gd name="connsiteY3" fmla="*/ 0 h 457199"/>
              <a:gd name="connsiteX0" fmla="*/ 983635 w 983635"/>
              <a:gd name="connsiteY0" fmla="*/ 0 h 457199"/>
              <a:gd name="connsiteX1" fmla="*/ 845168 w 983635"/>
              <a:gd name="connsiteY1" fmla="*/ 457199 h 457199"/>
              <a:gd name="connsiteX2" fmla="*/ 0 w 983635"/>
              <a:gd name="connsiteY2" fmla="*/ 457199 h 457199"/>
              <a:gd name="connsiteX3" fmla="*/ 138467 w 983635"/>
              <a:gd name="connsiteY3" fmla="*/ 0 h 457199"/>
              <a:gd name="connsiteX0" fmla="*/ 946929 w 946929"/>
              <a:gd name="connsiteY0" fmla="*/ 0 h 457199"/>
              <a:gd name="connsiteX1" fmla="*/ 845168 w 946929"/>
              <a:gd name="connsiteY1" fmla="*/ 457199 h 457199"/>
              <a:gd name="connsiteX2" fmla="*/ 0 w 946929"/>
              <a:gd name="connsiteY2" fmla="*/ 457199 h 457199"/>
              <a:gd name="connsiteX3" fmla="*/ 138467 w 946929"/>
              <a:gd name="connsiteY3" fmla="*/ 0 h 457199"/>
              <a:gd name="connsiteX0" fmla="*/ 946929 w 946929"/>
              <a:gd name="connsiteY0" fmla="*/ 0 h 457199"/>
              <a:gd name="connsiteX1" fmla="*/ 881875 w 946929"/>
              <a:gd name="connsiteY1" fmla="*/ 457199 h 457199"/>
              <a:gd name="connsiteX2" fmla="*/ 0 w 946929"/>
              <a:gd name="connsiteY2" fmla="*/ 457199 h 457199"/>
              <a:gd name="connsiteX3" fmla="*/ 138467 w 946929"/>
              <a:gd name="connsiteY3" fmla="*/ 0 h 457199"/>
              <a:gd name="connsiteX0" fmla="*/ 946929 w 946929"/>
              <a:gd name="connsiteY0" fmla="*/ 0 h 457199"/>
              <a:gd name="connsiteX1" fmla="*/ 881875 w 946929"/>
              <a:gd name="connsiteY1" fmla="*/ 457199 h 457199"/>
              <a:gd name="connsiteX2" fmla="*/ 0 w 946929"/>
              <a:gd name="connsiteY2" fmla="*/ 457199 h 457199"/>
              <a:gd name="connsiteX3" fmla="*/ 138467 w 946929"/>
              <a:gd name="connsiteY3" fmla="*/ 0 h 457199"/>
              <a:gd name="connsiteX0" fmla="*/ 946929 w 946929"/>
              <a:gd name="connsiteY0" fmla="*/ 0 h 457199"/>
              <a:gd name="connsiteX1" fmla="*/ 881875 w 946929"/>
              <a:gd name="connsiteY1" fmla="*/ 457199 h 457199"/>
              <a:gd name="connsiteX2" fmla="*/ 0 w 946929"/>
              <a:gd name="connsiteY2" fmla="*/ 457199 h 457199"/>
              <a:gd name="connsiteX3" fmla="*/ 65054 w 946929"/>
              <a:gd name="connsiteY3" fmla="*/ 0 h 457199"/>
              <a:gd name="connsiteX0" fmla="*/ 642773 w 881875"/>
              <a:gd name="connsiteY0" fmla="*/ 0 h 457202"/>
              <a:gd name="connsiteX1" fmla="*/ 881875 w 881875"/>
              <a:gd name="connsiteY1" fmla="*/ 457202 h 457202"/>
              <a:gd name="connsiteX2" fmla="*/ 0 w 881875"/>
              <a:gd name="connsiteY2" fmla="*/ 457202 h 457202"/>
              <a:gd name="connsiteX3" fmla="*/ 65054 w 881875"/>
              <a:gd name="connsiteY3" fmla="*/ 3 h 457202"/>
              <a:gd name="connsiteX0" fmla="*/ 642773 w 642773"/>
              <a:gd name="connsiteY0" fmla="*/ 0 h 457202"/>
              <a:gd name="connsiteX1" fmla="*/ 593016 w 642773"/>
              <a:gd name="connsiteY1" fmla="*/ 457202 h 457202"/>
              <a:gd name="connsiteX2" fmla="*/ 0 w 642773"/>
              <a:gd name="connsiteY2" fmla="*/ 457202 h 457202"/>
              <a:gd name="connsiteX3" fmla="*/ 65054 w 642773"/>
              <a:gd name="connsiteY3" fmla="*/ 3 h 457202"/>
              <a:gd name="connsiteX0" fmla="*/ 642773 w 642773"/>
              <a:gd name="connsiteY0" fmla="*/ 0 h 457202"/>
              <a:gd name="connsiteX1" fmla="*/ 593016 w 642773"/>
              <a:gd name="connsiteY1" fmla="*/ 457202 h 457202"/>
              <a:gd name="connsiteX2" fmla="*/ 0 w 642773"/>
              <a:gd name="connsiteY2" fmla="*/ 457202 h 457202"/>
              <a:gd name="connsiteX3" fmla="*/ 65054 w 642773"/>
              <a:gd name="connsiteY3" fmla="*/ 3 h 457202"/>
              <a:gd name="connsiteX0" fmla="*/ 642773 w 642773"/>
              <a:gd name="connsiteY0" fmla="*/ 0 h 457202"/>
              <a:gd name="connsiteX1" fmla="*/ 593016 w 642773"/>
              <a:gd name="connsiteY1" fmla="*/ 457202 h 457202"/>
              <a:gd name="connsiteX2" fmla="*/ 0 w 642773"/>
              <a:gd name="connsiteY2" fmla="*/ 457202 h 457202"/>
              <a:gd name="connsiteX3" fmla="*/ 49757 w 642773"/>
              <a:gd name="connsiteY3" fmla="*/ 0 h 457202"/>
              <a:gd name="connsiteX0" fmla="*/ 651066 w 651066"/>
              <a:gd name="connsiteY0" fmla="*/ 0 h 457202"/>
              <a:gd name="connsiteX1" fmla="*/ 593016 w 651066"/>
              <a:gd name="connsiteY1" fmla="*/ 457202 h 457202"/>
              <a:gd name="connsiteX2" fmla="*/ 0 w 651066"/>
              <a:gd name="connsiteY2" fmla="*/ 457202 h 457202"/>
              <a:gd name="connsiteX3" fmla="*/ 49757 w 651066"/>
              <a:gd name="connsiteY3" fmla="*/ 0 h 457202"/>
              <a:gd name="connsiteX0" fmla="*/ 651066 w 651066"/>
              <a:gd name="connsiteY0" fmla="*/ 0 h 457203"/>
              <a:gd name="connsiteX1" fmla="*/ 588869 w 651066"/>
              <a:gd name="connsiteY1" fmla="*/ 457203 h 457203"/>
              <a:gd name="connsiteX2" fmla="*/ 0 w 651066"/>
              <a:gd name="connsiteY2" fmla="*/ 457202 h 457203"/>
              <a:gd name="connsiteX3" fmla="*/ 49757 w 651066"/>
              <a:gd name="connsiteY3" fmla="*/ 0 h 457203"/>
              <a:gd name="connsiteX0" fmla="*/ 651068 w 651068"/>
              <a:gd name="connsiteY0" fmla="*/ 0 h 457203"/>
              <a:gd name="connsiteX1" fmla="*/ 588871 w 651068"/>
              <a:gd name="connsiteY1" fmla="*/ 457203 h 457203"/>
              <a:gd name="connsiteX2" fmla="*/ 0 w 651068"/>
              <a:gd name="connsiteY2" fmla="*/ 457203 h 457203"/>
              <a:gd name="connsiteX3" fmla="*/ 49759 w 651068"/>
              <a:gd name="connsiteY3" fmla="*/ 0 h 457203"/>
              <a:gd name="connsiteX0" fmla="*/ 651068 w 651068"/>
              <a:gd name="connsiteY0" fmla="*/ 0 h 457203"/>
              <a:gd name="connsiteX1" fmla="*/ 588871 w 651068"/>
              <a:gd name="connsiteY1" fmla="*/ 457203 h 457203"/>
              <a:gd name="connsiteX2" fmla="*/ 0 w 651068"/>
              <a:gd name="connsiteY2" fmla="*/ 457203 h 457203"/>
              <a:gd name="connsiteX3" fmla="*/ 62197 w 651068"/>
              <a:gd name="connsiteY3" fmla="*/ 0 h 457203"/>
              <a:gd name="connsiteX0" fmla="*/ 494520 w 588871"/>
              <a:gd name="connsiteY0" fmla="*/ 0 h 457203"/>
              <a:gd name="connsiteX1" fmla="*/ 588871 w 588871"/>
              <a:gd name="connsiteY1" fmla="*/ 457203 h 457203"/>
              <a:gd name="connsiteX2" fmla="*/ 0 w 588871"/>
              <a:gd name="connsiteY2" fmla="*/ 457203 h 457203"/>
              <a:gd name="connsiteX3" fmla="*/ 62197 w 588871"/>
              <a:gd name="connsiteY3" fmla="*/ 0 h 457203"/>
              <a:gd name="connsiteX0" fmla="*/ 494520 w 494520"/>
              <a:gd name="connsiteY0" fmla="*/ 0 h 457204"/>
              <a:gd name="connsiteX1" fmla="*/ 444763 w 494520"/>
              <a:gd name="connsiteY1" fmla="*/ 457204 h 457204"/>
              <a:gd name="connsiteX2" fmla="*/ 0 w 494520"/>
              <a:gd name="connsiteY2" fmla="*/ 457203 h 457204"/>
              <a:gd name="connsiteX3" fmla="*/ 62197 w 494520"/>
              <a:gd name="connsiteY3" fmla="*/ 0 h 457204"/>
              <a:gd name="connsiteX0" fmla="*/ 494520 w 494520"/>
              <a:gd name="connsiteY0" fmla="*/ 0 h 457204"/>
              <a:gd name="connsiteX1" fmla="*/ 444763 w 494520"/>
              <a:gd name="connsiteY1" fmla="*/ 457204 h 457204"/>
              <a:gd name="connsiteX2" fmla="*/ 0 w 494520"/>
              <a:gd name="connsiteY2" fmla="*/ 457203 h 457204"/>
              <a:gd name="connsiteX3" fmla="*/ 62197 w 494520"/>
              <a:gd name="connsiteY3" fmla="*/ 0 h 457204"/>
              <a:gd name="connsiteX0" fmla="*/ 494520 w 494520"/>
              <a:gd name="connsiteY0" fmla="*/ 1 h 457205"/>
              <a:gd name="connsiteX1" fmla="*/ 444763 w 494520"/>
              <a:gd name="connsiteY1" fmla="*/ 457205 h 457205"/>
              <a:gd name="connsiteX2" fmla="*/ 0 w 494520"/>
              <a:gd name="connsiteY2" fmla="*/ 457204 h 457205"/>
              <a:gd name="connsiteX3" fmla="*/ 49757 w 494520"/>
              <a:gd name="connsiteY3" fmla="*/ 0 h 457205"/>
              <a:gd name="connsiteX0" fmla="*/ 503850 w 503850"/>
              <a:gd name="connsiteY0" fmla="*/ 1 h 457205"/>
              <a:gd name="connsiteX1" fmla="*/ 444763 w 503850"/>
              <a:gd name="connsiteY1" fmla="*/ 457205 h 457205"/>
              <a:gd name="connsiteX2" fmla="*/ 0 w 503850"/>
              <a:gd name="connsiteY2" fmla="*/ 457204 h 457205"/>
              <a:gd name="connsiteX3" fmla="*/ 49757 w 503850"/>
              <a:gd name="connsiteY3" fmla="*/ 0 h 457205"/>
              <a:gd name="connsiteX0" fmla="*/ 503850 w 503850"/>
              <a:gd name="connsiteY0" fmla="*/ 1 h 457205"/>
              <a:gd name="connsiteX1" fmla="*/ 441652 w 503850"/>
              <a:gd name="connsiteY1" fmla="*/ 457205 h 457205"/>
              <a:gd name="connsiteX2" fmla="*/ 0 w 503850"/>
              <a:gd name="connsiteY2" fmla="*/ 457204 h 457205"/>
              <a:gd name="connsiteX3" fmla="*/ 49757 w 503850"/>
              <a:gd name="connsiteY3" fmla="*/ 0 h 457205"/>
              <a:gd name="connsiteX0" fmla="*/ 503851 w 503851"/>
              <a:gd name="connsiteY0" fmla="*/ 1 h 457205"/>
              <a:gd name="connsiteX1" fmla="*/ 441653 w 503851"/>
              <a:gd name="connsiteY1" fmla="*/ 457205 h 457205"/>
              <a:gd name="connsiteX2" fmla="*/ 0 w 503851"/>
              <a:gd name="connsiteY2" fmla="*/ 457205 h 457205"/>
              <a:gd name="connsiteX3" fmla="*/ 49758 w 503851"/>
              <a:gd name="connsiteY3" fmla="*/ 0 h 457205"/>
              <a:gd name="connsiteX0" fmla="*/ 503851 w 503851"/>
              <a:gd name="connsiteY0" fmla="*/ 0 h 457204"/>
              <a:gd name="connsiteX1" fmla="*/ 441653 w 503851"/>
              <a:gd name="connsiteY1" fmla="*/ 457204 h 457204"/>
              <a:gd name="connsiteX2" fmla="*/ 0 w 503851"/>
              <a:gd name="connsiteY2" fmla="*/ 457204 h 457204"/>
              <a:gd name="connsiteX3" fmla="*/ 62197 w 503851"/>
              <a:gd name="connsiteY3" fmla="*/ 0 h 457204"/>
              <a:gd name="connsiteX0" fmla="*/ 405568 w 441653"/>
              <a:gd name="connsiteY0" fmla="*/ 0 h 457204"/>
              <a:gd name="connsiteX1" fmla="*/ 441653 w 441653"/>
              <a:gd name="connsiteY1" fmla="*/ 457204 h 457204"/>
              <a:gd name="connsiteX2" fmla="*/ 0 w 441653"/>
              <a:gd name="connsiteY2" fmla="*/ 457204 h 457204"/>
              <a:gd name="connsiteX3" fmla="*/ 62197 w 441653"/>
              <a:gd name="connsiteY3" fmla="*/ 0 h 457204"/>
              <a:gd name="connsiteX0" fmla="*/ 405568 w 405568"/>
              <a:gd name="connsiteY0" fmla="*/ 0 h 457204"/>
              <a:gd name="connsiteX1" fmla="*/ 355811 w 405568"/>
              <a:gd name="connsiteY1" fmla="*/ 457204 h 457204"/>
              <a:gd name="connsiteX2" fmla="*/ 0 w 405568"/>
              <a:gd name="connsiteY2" fmla="*/ 457204 h 457204"/>
              <a:gd name="connsiteX3" fmla="*/ 62197 w 405568"/>
              <a:gd name="connsiteY3" fmla="*/ 0 h 457204"/>
              <a:gd name="connsiteX0" fmla="*/ 405568 w 405568"/>
              <a:gd name="connsiteY0" fmla="*/ 0 h 457204"/>
              <a:gd name="connsiteX1" fmla="*/ 355811 w 405568"/>
              <a:gd name="connsiteY1" fmla="*/ 457204 h 457204"/>
              <a:gd name="connsiteX2" fmla="*/ 0 w 405568"/>
              <a:gd name="connsiteY2" fmla="*/ 457204 h 457204"/>
              <a:gd name="connsiteX3" fmla="*/ 62197 w 405568"/>
              <a:gd name="connsiteY3" fmla="*/ 0 h 457204"/>
              <a:gd name="connsiteX0" fmla="*/ 405568 w 405568"/>
              <a:gd name="connsiteY0" fmla="*/ 0 h 457204"/>
              <a:gd name="connsiteX1" fmla="*/ 355811 w 405568"/>
              <a:gd name="connsiteY1" fmla="*/ 457204 h 457204"/>
              <a:gd name="connsiteX2" fmla="*/ 0 w 405568"/>
              <a:gd name="connsiteY2" fmla="*/ 457204 h 457204"/>
              <a:gd name="connsiteX3" fmla="*/ 49757 w 405568"/>
              <a:gd name="connsiteY3" fmla="*/ 0 h 457204"/>
              <a:gd name="connsiteX0" fmla="*/ 415520 w 415520"/>
              <a:gd name="connsiteY0" fmla="*/ 0 h 457204"/>
              <a:gd name="connsiteX1" fmla="*/ 355811 w 415520"/>
              <a:gd name="connsiteY1" fmla="*/ 457204 h 457204"/>
              <a:gd name="connsiteX2" fmla="*/ 0 w 415520"/>
              <a:gd name="connsiteY2" fmla="*/ 457204 h 457204"/>
              <a:gd name="connsiteX3" fmla="*/ 49757 w 415520"/>
              <a:gd name="connsiteY3" fmla="*/ 0 h 457204"/>
              <a:gd name="connsiteX0" fmla="*/ 415520 w 415520"/>
              <a:gd name="connsiteY0" fmla="*/ 0 h 457205"/>
              <a:gd name="connsiteX1" fmla="*/ 353322 w 415520"/>
              <a:gd name="connsiteY1" fmla="*/ 457205 h 457205"/>
              <a:gd name="connsiteX2" fmla="*/ 0 w 415520"/>
              <a:gd name="connsiteY2" fmla="*/ 457204 h 457205"/>
              <a:gd name="connsiteX3" fmla="*/ 49757 w 415520"/>
              <a:gd name="connsiteY3" fmla="*/ 0 h 457205"/>
              <a:gd name="connsiteX0" fmla="*/ 415520 w 415520"/>
              <a:gd name="connsiteY0" fmla="*/ 0 h 457205"/>
              <a:gd name="connsiteX1" fmla="*/ 353322 w 415520"/>
              <a:gd name="connsiteY1" fmla="*/ 457205 h 457205"/>
              <a:gd name="connsiteX2" fmla="*/ 0 w 415520"/>
              <a:gd name="connsiteY2" fmla="*/ 457205 h 457205"/>
              <a:gd name="connsiteX3" fmla="*/ 49757 w 415520"/>
              <a:gd name="connsiteY3" fmla="*/ 0 h 457205"/>
              <a:gd name="connsiteX0" fmla="*/ 415520 w 415520"/>
              <a:gd name="connsiteY0" fmla="*/ 0 h 457205"/>
              <a:gd name="connsiteX1" fmla="*/ 353322 w 415520"/>
              <a:gd name="connsiteY1" fmla="*/ 457205 h 457205"/>
              <a:gd name="connsiteX2" fmla="*/ 0 w 415520"/>
              <a:gd name="connsiteY2" fmla="*/ 457205 h 457205"/>
              <a:gd name="connsiteX3" fmla="*/ 62196 w 415520"/>
              <a:gd name="connsiteY3" fmla="*/ 0 h 457205"/>
              <a:gd name="connsiteX0" fmla="*/ 346266 w 353322"/>
              <a:gd name="connsiteY0" fmla="*/ 1 h 457205"/>
              <a:gd name="connsiteX1" fmla="*/ 353322 w 353322"/>
              <a:gd name="connsiteY1" fmla="*/ 457205 h 457205"/>
              <a:gd name="connsiteX2" fmla="*/ 0 w 353322"/>
              <a:gd name="connsiteY2" fmla="*/ 457205 h 457205"/>
              <a:gd name="connsiteX3" fmla="*/ 62196 w 353322"/>
              <a:gd name="connsiteY3" fmla="*/ 0 h 457205"/>
              <a:gd name="connsiteX0" fmla="*/ 346266 w 346266"/>
              <a:gd name="connsiteY0" fmla="*/ 1 h 457206"/>
              <a:gd name="connsiteX1" fmla="*/ 296509 w 346266"/>
              <a:gd name="connsiteY1" fmla="*/ 457206 h 457206"/>
              <a:gd name="connsiteX2" fmla="*/ 0 w 346266"/>
              <a:gd name="connsiteY2" fmla="*/ 457205 h 457206"/>
              <a:gd name="connsiteX3" fmla="*/ 62196 w 346266"/>
              <a:gd name="connsiteY3" fmla="*/ 0 h 457206"/>
              <a:gd name="connsiteX0" fmla="*/ 346266 w 346266"/>
              <a:gd name="connsiteY0" fmla="*/ 1 h 457206"/>
              <a:gd name="connsiteX1" fmla="*/ 296509 w 346266"/>
              <a:gd name="connsiteY1" fmla="*/ 457206 h 457206"/>
              <a:gd name="connsiteX2" fmla="*/ 0 w 346266"/>
              <a:gd name="connsiteY2" fmla="*/ 457205 h 457206"/>
              <a:gd name="connsiteX3" fmla="*/ 62196 w 346266"/>
              <a:gd name="connsiteY3" fmla="*/ 0 h 457206"/>
              <a:gd name="connsiteX0" fmla="*/ 346266 w 346266"/>
              <a:gd name="connsiteY0" fmla="*/ 1 h 457206"/>
              <a:gd name="connsiteX1" fmla="*/ 296509 w 346266"/>
              <a:gd name="connsiteY1" fmla="*/ 457206 h 457206"/>
              <a:gd name="connsiteX2" fmla="*/ 0 w 346266"/>
              <a:gd name="connsiteY2" fmla="*/ 457205 h 457206"/>
              <a:gd name="connsiteX3" fmla="*/ 49758 w 346266"/>
              <a:gd name="connsiteY3" fmla="*/ 0 h 457206"/>
              <a:gd name="connsiteX0" fmla="*/ 356633 w 356633"/>
              <a:gd name="connsiteY0" fmla="*/ 0 h 457206"/>
              <a:gd name="connsiteX1" fmla="*/ 296509 w 356633"/>
              <a:gd name="connsiteY1" fmla="*/ 457206 h 457206"/>
              <a:gd name="connsiteX2" fmla="*/ 0 w 356633"/>
              <a:gd name="connsiteY2" fmla="*/ 457205 h 457206"/>
              <a:gd name="connsiteX3" fmla="*/ 49758 w 356633"/>
              <a:gd name="connsiteY3" fmla="*/ 0 h 457206"/>
              <a:gd name="connsiteX0" fmla="*/ 356633 w 356633"/>
              <a:gd name="connsiteY0" fmla="*/ 0 h 457206"/>
              <a:gd name="connsiteX1" fmla="*/ 294436 w 356633"/>
              <a:gd name="connsiteY1" fmla="*/ 457206 h 457206"/>
              <a:gd name="connsiteX2" fmla="*/ 0 w 356633"/>
              <a:gd name="connsiteY2" fmla="*/ 457205 h 457206"/>
              <a:gd name="connsiteX3" fmla="*/ 49758 w 356633"/>
              <a:gd name="connsiteY3" fmla="*/ 0 h 457206"/>
              <a:gd name="connsiteX0" fmla="*/ 356633 w 356633"/>
              <a:gd name="connsiteY0" fmla="*/ 0 h 457206"/>
              <a:gd name="connsiteX1" fmla="*/ 294436 w 356633"/>
              <a:gd name="connsiteY1" fmla="*/ 457206 h 457206"/>
              <a:gd name="connsiteX2" fmla="*/ 0 w 356633"/>
              <a:gd name="connsiteY2" fmla="*/ 457206 h 457206"/>
              <a:gd name="connsiteX3" fmla="*/ 49758 w 356633"/>
              <a:gd name="connsiteY3" fmla="*/ 0 h 457206"/>
              <a:gd name="connsiteX0" fmla="*/ 356633 w 356633"/>
              <a:gd name="connsiteY0" fmla="*/ 0 h 457206"/>
              <a:gd name="connsiteX1" fmla="*/ 294436 w 356633"/>
              <a:gd name="connsiteY1" fmla="*/ 457206 h 457206"/>
              <a:gd name="connsiteX2" fmla="*/ 0 w 356633"/>
              <a:gd name="connsiteY2" fmla="*/ 457206 h 457206"/>
              <a:gd name="connsiteX3" fmla="*/ 62197 w 356633"/>
              <a:gd name="connsiteY3" fmla="*/ 0 h 457206"/>
              <a:gd name="connsiteX0" fmla="*/ 345014 w 345014"/>
              <a:gd name="connsiteY0" fmla="*/ 0 h 457206"/>
              <a:gd name="connsiteX1" fmla="*/ 294436 w 345014"/>
              <a:gd name="connsiteY1" fmla="*/ 457206 h 457206"/>
              <a:gd name="connsiteX2" fmla="*/ 0 w 345014"/>
              <a:gd name="connsiteY2" fmla="*/ 457206 h 457206"/>
              <a:gd name="connsiteX3" fmla="*/ 62197 w 345014"/>
              <a:gd name="connsiteY3" fmla="*/ 0 h 457206"/>
              <a:gd name="connsiteX0" fmla="*/ 345014 w 345014"/>
              <a:gd name="connsiteY0" fmla="*/ 0 h 457206"/>
              <a:gd name="connsiteX1" fmla="*/ 296760 w 345014"/>
              <a:gd name="connsiteY1" fmla="*/ 457206 h 457206"/>
              <a:gd name="connsiteX2" fmla="*/ 0 w 345014"/>
              <a:gd name="connsiteY2" fmla="*/ 457206 h 457206"/>
              <a:gd name="connsiteX3" fmla="*/ 62197 w 345014"/>
              <a:gd name="connsiteY3" fmla="*/ 0 h 457206"/>
              <a:gd name="connsiteX0" fmla="*/ 345014 w 345014"/>
              <a:gd name="connsiteY0" fmla="*/ 0 h 457206"/>
              <a:gd name="connsiteX1" fmla="*/ 296760 w 345014"/>
              <a:gd name="connsiteY1" fmla="*/ 457206 h 457206"/>
              <a:gd name="connsiteX2" fmla="*/ 0 w 345014"/>
              <a:gd name="connsiteY2" fmla="*/ 457206 h 457206"/>
              <a:gd name="connsiteX3" fmla="*/ 62197 w 345014"/>
              <a:gd name="connsiteY3" fmla="*/ 0 h 457206"/>
              <a:gd name="connsiteX0" fmla="*/ 345014 w 345014"/>
              <a:gd name="connsiteY0" fmla="*/ 0 h 457206"/>
              <a:gd name="connsiteX1" fmla="*/ 296760 w 345014"/>
              <a:gd name="connsiteY1" fmla="*/ 457206 h 457206"/>
              <a:gd name="connsiteX2" fmla="*/ 0 w 345014"/>
              <a:gd name="connsiteY2" fmla="*/ 457206 h 457206"/>
              <a:gd name="connsiteX3" fmla="*/ 48253 w 345014"/>
              <a:gd name="connsiteY3" fmla="*/ 0 h 457206"/>
              <a:gd name="connsiteX0" fmla="*/ 376963 w 376963"/>
              <a:gd name="connsiteY0" fmla="*/ 2 h 457206"/>
              <a:gd name="connsiteX1" fmla="*/ 296760 w 376963"/>
              <a:gd name="connsiteY1" fmla="*/ 457206 h 457206"/>
              <a:gd name="connsiteX2" fmla="*/ 0 w 376963"/>
              <a:gd name="connsiteY2" fmla="*/ 457206 h 457206"/>
              <a:gd name="connsiteX3" fmla="*/ 48253 w 376963"/>
              <a:gd name="connsiteY3" fmla="*/ 0 h 457206"/>
              <a:gd name="connsiteX0" fmla="*/ 376963 w 376963"/>
              <a:gd name="connsiteY0" fmla="*/ 2 h 457208"/>
              <a:gd name="connsiteX1" fmla="*/ 290370 w 376963"/>
              <a:gd name="connsiteY1" fmla="*/ 457208 h 457208"/>
              <a:gd name="connsiteX2" fmla="*/ 0 w 376963"/>
              <a:gd name="connsiteY2" fmla="*/ 457206 h 457208"/>
              <a:gd name="connsiteX3" fmla="*/ 48253 w 376963"/>
              <a:gd name="connsiteY3" fmla="*/ 0 h 457208"/>
              <a:gd name="connsiteX0" fmla="*/ 376963 w 376963"/>
              <a:gd name="connsiteY0" fmla="*/ 2 h 457208"/>
              <a:gd name="connsiteX1" fmla="*/ 290370 w 376963"/>
              <a:gd name="connsiteY1" fmla="*/ 457208 h 457208"/>
              <a:gd name="connsiteX2" fmla="*/ 0 w 376963"/>
              <a:gd name="connsiteY2" fmla="*/ 457206 h 457208"/>
              <a:gd name="connsiteX3" fmla="*/ 48253 w 376963"/>
              <a:gd name="connsiteY3" fmla="*/ 0 h 457208"/>
              <a:gd name="connsiteX0" fmla="*/ 376963 w 376963"/>
              <a:gd name="connsiteY0" fmla="*/ 1 h 457207"/>
              <a:gd name="connsiteX1" fmla="*/ 290370 w 376963"/>
              <a:gd name="connsiteY1" fmla="*/ 457207 h 457207"/>
              <a:gd name="connsiteX2" fmla="*/ 0 w 376963"/>
              <a:gd name="connsiteY2" fmla="*/ 457205 h 457207"/>
              <a:gd name="connsiteX3" fmla="*/ 86593 w 376963"/>
              <a:gd name="connsiteY3" fmla="*/ 0 h 457207"/>
              <a:gd name="connsiteX0" fmla="*/ 371442 w 371442"/>
              <a:gd name="connsiteY0" fmla="*/ 1 h 457207"/>
              <a:gd name="connsiteX1" fmla="*/ 290370 w 371442"/>
              <a:gd name="connsiteY1" fmla="*/ 457207 h 457207"/>
              <a:gd name="connsiteX2" fmla="*/ 0 w 371442"/>
              <a:gd name="connsiteY2" fmla="*/ 457205 h 457207"/>
              <a:gd name="connsiteX3" fmla="*/ 86593 w 371442"/>
              <a:gd name="connsiteY3" fmla="*/ 0 h 457207"/>
              <a:gd name="connsiteX0" fmla="*/ 371442 w 371442"/>
              <a:gd name="connsiteY0" fmla="*/ 1 h 457207"/>
              <a:gd name="connsiteX1" fmla="*/ 291474 w 371442"/>
              <a:gd name="connsiteY1" fmla="*/ 457207 h 457207"/>
              <a:gd name="connsiteX2" fmla="*/ 0 w 371442"/>
              <a:gd name="connsiteY2" fmla="*/ 457205 h 457207"/>
              <a:gd name="connsiteX3" fmla="*/ 86593 w 371442"/>
              <a:gd name="connsiteY3" fmla="*/ 0 h 457207"/>
              <a:gd name="connsiteX0" fmla="*/ 371442 w 371442"/>
              <a:gd name="connsiteY0" fmla="*/ 1 h 457207"/>
              <a:gd name="connsiteX1" fmla="*/ 291474 w 371442"/>
              <a:gd name="connsiteY1" fmla="*/ 457207 h 457207"/>
              <a:gd name="connsiteX2" fmla="*/ 0 w 371442"/>
              <a:gd name="connsiteY2" fmla="*/ 457207 h 457207"/>
              <a:gd name="connsiteX3" fmla="*/ 86593 w 371442"/>
              <a:gd name="connsiteY3" fmla="*/ 0 h 457207"/>
              <a:gd name="connsiteX0" fmla="*/ 371442 w 371442"/>
              <a:gd name="connsiteY0" fmla="*/ 0 h 457206"/>
              <a:gd name="connsiteX1" fmla="*/ 291474 w 371442"/>
              <a:gd name="connsiteY1" fmla="*/ 457206 h 457206"/>
              <a:gd name="connsiteX2" fmla="*/ 0 w 371442"/>
              <a:gd name="connsiteY2" fmla="*/ 457206 h 457206"/>
              <a:gd name="connsiteX3" fmla="*/ 79967 w 371442"/>
              <a:gd name="connsiteY3" fmla="*/ 0 h 457206"/>
              <a:gd name="connsiteX0" fmla="*/ 355897 w 355897"/>
              <a:gd name="connsiteY0" fmla="*/ 0 h 457206"/>
              <a:gd name="connsiteX1" fmla="*/ 291474 w 355897"/>
              <a:gd name="connsiteY1" fmla="*/ 457206 h 457206"/>
              <a:gd name="connsiteX2" fmla="*/ 0 w 355897"/>
              <a:gd name="connsiteY2" fmla="*/ 457206 h 457206"/>
              <a:gd name="connsiteX3" fmla="*/ 79967 w 355897"/>
              <a:gd name="connsiteY3" fmla="*/ 0 h 457206"/>
              <a:gd name="connsiteX0" fmla="*/ 355897 w 355897"/>
              <a:gd name="connsiteY0" fmla="*/ 0 h 457206"/>
              <a:gd name="connsiteX1" fmla="*/ 294584 w 355897"/>
              <a:gd name="connsiteY1" fmla="*/ 457206 h 457206"/>
              <a:gd name="connsiteX2" fmla="*/ 0 w 355897"/>
              <a:gd name="connsiteY2" fmla="*/ 457206 h 457206"/>
              <a:gd name="connsiteX3" fmla="*/ 79967 w 355897"/>
              <a:gd name="connsiteY3" fmla="*/ 0 h 457206"/>
              <a:gd name="connsiteX0" fmla="*/ 355897 w 355897"/>
              <a:gd name="connsiteY0" fmla="*/ 0 h 457206"/>
              <a:gd name="connsiteX1" fmla="*/ 294584 w 355897"/>
              <a:gd name="connsiteY1" fmla="*/ 457206 h 457206"/>
              <a:gd name="connsiteX2" fmla="*/ 0 w 355897"/>
              <a:gd name="connsiteY2" fmla="*/ 457206 h 457206"/>
              <a:gd name="connsiteX3" fmla="*/ 79967 w 355897"/>
              <a:gd name="connsiteY3" fmla="*/ 0 h 457206"/>
              <a:gd name="connsiteX0" fmla="*/ 355897 w 355897"/>
              <a:gd name="connsiteY0" fmla="*/ 0 h 457206"/>
              <a:gd name="connsiteX1" fmla="*/ 294584 w 355897"/>
              <a:gd name="connsiteY1" fmla="*/ 457206 h 457206"/>
              <a:gd name="connsiteX2" fmla="*/ 0 w 355897"/>
              <a:gd name="connsiteY2" fmla="*/ 457206 h 457206"/>
              <a:gd name="connsiteX3" fmla="*/ 61314 w 355897"/>
              <a:gd name="connsiteY3" fmla="*/ 0 h 457206"/>
              <a:gd name="connsiteX0" fmla="*/ 354848 w 354848"/>
              <a:gd name="connsiteY0" fmla="*/ 0 h 457206"/>
              <a:gd name="connsiteX1" fmla="*/ 294584 w 354848"/>
              <a:gd name="connsiteY1" fmla="*/ 457206 h 457206"/>
              <a:gd name="connsiteX2" fmla="*/ 0 w 354848"/>
              <a:gd name="connsiteY2" fmla="*/ 457206 h 457206"/>
              <a:gd name="connsiteX3" fmla="*/ 61314 w 354848"/>
              <a:gd name="connsiteY3" fmla="*/ 0 h 457206"/>
              <a:gd name="connsiteX0" fmla="*/ 354848 w 354848"/>
              <a:gd name="connsiteY0" fmla="*/ 0 h 457206"/>
              <a:gd name="connsiteX1" fmla="*/ 294794 w 354848"/>
              <a:gd name="connsiteY1" fmla="*/ 457206 h 457206"/>
              <a:gd name="connsiteX2" fmla="*/ 0 w 354848"/>
              <a:gd name="connsiteY2" fmla="*/ 457206 h 457206"/>
              <a:gd name="connsiteX3" fmla="*/ 61314 w 354848"/>
              <a:gd name="connsiteY3" fmla="*/ 0 h 457206"/>
              <a:gd name="connsiteX0" fmla="*/ 354848 w 354848"/>
              <a:gd name="connsiteY0" fmla="*/ 0 h 457206"/>
              <a:gd name="connsiteX1" fmla="*/ 294794 w 354848"/>
              <a:gd name="connsiteY1" fmla="*/ 457206 h 457206"/>
              <a:gd name="connsiteX2" fmla="*/ 0 w 354848"/>
              <a:gd name="connsiteY2" fmla="*/ 457206 h 457206"/>
              <a:gd name="connsiteX3" fmla="*/ 61314 w 354848"/>
              <a:gd name="connsiteY3" fmla="*/ 0 h 457206"/>
              <a:gd name="connsiteX0" fmla="*/ 354848 w 354848"/>
              <a:gd name="connsiteY0" fmla="*/ 0 h 457206"/>
              <a:gd name="connsiteX1" fmla="*/ 294794 w 354848"/>
              <a:gd name="connsiteY1" fmla="*/ 457206 h 457206"/>
              <a:gd name="connsiteX2" fmla="*/ 0 w 354848"/>
              <a:gd name="connsiteY2" fmla="*/ 457206 h 457206"/>
              <a:gd name="connsiteX3" fmla="*/ 0 w 354848"/>
              <a:gd name="connsiteY3" fmla="*/ 0 h 457206"/>
              <a:gd name="connsiteX0" fmla="*/ 354848 w 354848"/>
              <a:gd name="connsiteY0" fmla="*/ 0 h 457206"/>
              <a:gd name="connsiteX1" fmla="*/ 294794 w 354848"/>
              <a:gd name="connsiteY1" fmla="*/ 457206 h 457206"/>
              <a:gd name="connsiteX2" fmla="*/ 0 w 354848"/>
              <a:gd name="connsiteY2" fmla="*/ 457206 h 457206"/>
              <a:gd name="connsiteX3" fmla="*/ 0 w 354848"/>
              <a:gd name="connsiteY3" fmla="*/ 0 h 457206"/>
              <a:gd name="connsiteX0" fmla="*/ 354848 w 354848"/>
              <a:gd name="connsiteY0" fmla="*/ 0 h 457206"/>
              <a:gd name="connsiteX1" fmla="*/ 294794 w 354848"/>
              <a:gd name="connsiteY1" fmla="*/ 457206 h 457206"/>
              <a:gd name="connsiteX2" fmla="*/ 0 w 354848"/>
              <a:gd name="connsiteY2" fmla="*/ 457206 h 457206"/>
              <a:gd name="connsiteX3" fmla="*/ 0 w 354848"/>
              <a:gd name="connsiteY3" fmla="*/ 0 h 457206"/>
              <a:gd name="connsiteX0" fmla="*/ 354848 w 354848"/>
              <a:gd name="connsiteY0" fmla="*/ 0 h 457206"/>
              <a:gd name="connsiteX1" fmla="*/ 294794 w 354848"/>
              <a:gd name="connsiteY1" fmla="*/ 457206 h 457206"/>
              <a:gd name="connsiteX2" fmla="*/ 0 w 354848"/>
              <a:gd name="connsiteY2" fmla="*/ 457206 h 457206"/>
              <a:gd name="connsiteX3" fmla="*/ 0 w 354848"/>
              <a:gd name="connsiteY3" fmla="*/ 0 h 457206"/>
              <a:gd name="connsiteX0" fmla="*/ 354848 w 354848"/>
              <a:gd name="connsiteY0" fmla="*/ 0 h 457206"/>
              <a:gd name="connsiteX1" fmla="*/ 294794 w 354848"/>
              <a:gd name="connsiteY1" fmla="*/ 457206 h 457206"/>
              <a:gd name="connsiteX2" fmla="*/ 0 w 354848"/>
              <a:gd name="connsiteY2" fmla="*/ 457206 h 457206"/>
              <a:gd name="connsiteX3" fmla="*/ 60054 w 354848"/>
              <a:gd name="connsiteY3" fmla="*/ 0 h 457206"/>
              <a:gd name="connsiteX0" fmla="*/ 352442 w 352442"/>
              <a:gd name="connsiteY0" fmla="*/ 0 h 457206"/>
              <a:gd name="connsiteX1" fmla="*/ 294794 w 352442"/>
              <a:gd name="connsiteY1" fmla="*/ 457206 h 457206"/>
              <a:gd name="connsiteX2" fmla="*/ 0 w 352442"/>
              <a:gd name="connsiteY2" fmla="*/ 457206 h 457206"/>
              <a:gd name="connsiteX3" fmla="*/ 60054 w 352442"/>
              <a:gd name="connsiteY3" fmla="*/ 0 h 457206"/>
              <a:gd name="connsiteX0" fmla="*/ 352442 w 352442"/>
              <a:gd name="connsiteY0" fmla="*/ 0 h 457206"/>
              <a:gd name="connsiteX1" fmla="*/ 295274 w 352442"/>
              <a:gd name="connsiteY1" fmla="*/ 457206 h 457206"/>
              <a:gd name="connsiteX2" fmla="*/ 0 w 352442"/>
              <a:gd name="connsiteY2" fmla="*/ 457206 h 457206"/>
              <a:gd name="connsiteX3" fmla="*/ 60054 w 352442"/>
              <a:gd name="connsiteY3" fmla="*/ 0 h 457206"/>
              <a:gd name="connsiteX0" fmla="*/ 352442 w 352442"/>
              <a:gd name="connsiteY0" fmla="*/ 0 h 457206"/>
              <a:gd name="connsiteX1" fmla="*/ 295274 w 352442"/>
              <a:gd name="connsiteY1" fmla="*/ 457206 h 457206"/>
              <a:gd name="connsiteX2" fmla="*/ 0 w 352442"/>
              <a:gd name="connsiteY2" fmla="*/ 457206 h 457206"/>
              <a:gd name="connsiteX3" fmla="*/ 60054 w 352442"/>
              <a:gd name="connsiteY3" fmla="*/ 0 h 457206"/>
              <a:gd name="connsiteX0" fmla="*/ 352442 w 352442"/>
              <a:gd name="connsiteY0" fmla="*/ 0 h 457206"/>
              <a:gd name="connsiteX1" fmla="*/ 295274 w 352442"/>
              <a:gd name="connsiteY1" fmla="*/ 457206 h 457206"/>
              <a:gd name="connsiteX2" fmla="*/ 0 w 352442"/>
              <a:gd name="connsiteY2" fmla="*/ 457206 h 457206"/>
              <a:gd name="connsiteX3" fmla="*/ 0 w 352442"/>
              <a:gd name="connsiteY3" fmla="*/ 0 h 457206"/>
              <a:gd name="connsiteX0" fmla="*/ 352442 w 352442"/>
              <a:gd name="connsiteY0" fmla="*/ 0 h 457206"/>
              <a:gd name="connsiteX1" fmla="*/ 295274 w 352442"/>
              <a:gd name="connsiteY1" fmla="*/ 457206 h 457206"/>
              <a:gd name="connsiteX2" fmla="*/ 0 w 352442"/>
              <a:gd name="connsiteY2" fmla="*/ 457206 h 457206"/>
              <a:gd name="connsiteX3" fmla="*/ 0 w 352442"/>
              <a:gd name="connsiteY3" fmla="*/ 0 h 457206"/>
              <a:gd name="connsiteX0" fmla="*/ 352442 w 352442"/>
              <a:gd name="connsiteY0" fmla="*/ 0 h 457206"/>
              <a:gd name="connsiteX1" fmla="*/ 295274 w 352442"/>
              <a:gd name="connsiteY1" fmla="*/ 457206 h 457206"/>
              <a:gd name="connsiteX2" fmla="*/ 0 w 352442"/>
              <a:gd name="connsiteY2" fmla="*/ 457206 h 457206"/>
              <a:gd name="connsiteX3" fmla="*/ 0 w 352442"/>
              <a:gd name="connsiteY3" fmla="*/ 0 h 457206"/>
              <a:gd name="connsiteX0" fmla="*/ 352442 w 352442"/>
              <a:gd name="connsiteY0" fmla="*/ 0 h 457206"/>
              <a:gd name="connsiteX1" fmla="*/ 295274 w 352442"/>
              <a:gd name="connsiteY1" fmla="*/ 457206 h 457206"/>
              <a:gd name="connsiteX2" fmla="*/ 0 w 352442"/>
              <a:gd name="connsiteY2" fmla="*/ 457206 h 457206"/>
              <a:gd name="connsiteX3" fmla="*/ 0 w 352442"/>
              <a:gd name="connsiteY3" fmla="*/ 0 h 457206"/>
              <a:gd name="connsiteX0" fmla="*/ 352442 w 352442"/>
              <a:gd name="connsiteY0" fmla="*/ 0 h 457206"/>
              <a:gd name="connsiteX1" fmla="*/ 295274 w 352442"/>
              <a:gd name="connsiteY1" fmla="*/ 457206 h 457206"/>
              <a:gd name="connsiteX2" fmla="*/ 0 w 352442"/>
              <a:gd name="connsiteY2" fmla="*/ 457206 h 457206"/>
              <a:gd name="connsiteX3" fmla="*/ 57168 w 352442"/>
              <a:gd name="connsiteY3" fmla="*/ 0 h 457206"/>
              <a:gd name="connsiteX0" fmla="*/ 353457 w 353457"/>
              <a:gd name="connsiteY0" fmla="*/ 0 h 457206"/>
              <a:gd name="connsiteX1" fmla="*/ 295274 w 353457"/>
              <a:gd name="connsiteY1" fmla="*/ 457206 h 457206"/>
              <a:gd name="connsiteX2" fmla="*/ 0 w 353457"/>
              <a:gd name="connsiteY2" fmla="*/ 457206 h 457206"/>
              <a:gd name="connsiteX3" fmla="*/ 57168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57168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57168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0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0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0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0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58386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58386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58386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58386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0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0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0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0 w 353457"/>
              <a:gd name="connsiteY3" fmla="*/ 0 h 457206"/>
              <a:gd name="connsiteX0" fmla="*/ 353457 w 353457"/>
              <a:gd name="connsiteY0" fmla="*/ 0 h 457206"/>
              <a:gd name="connsiteX1" fmla="*/ 295072 w 353457"/>
              <a:gd name="connsiteY1" fmla="*/ 457206 h 457206"/>
              <a:gd name="connsiteX2" fmla="*/ 0 w 353457"/>
              <a:gd name="connsiteY2" fmla="*/ 457206 h 457206"/>
              <a:gd name="connsiteX3" fmla="*/ 58386 w 353457"/>
              <a:gd name="connsiteY3" fmla="*/ 0 h 457206"/>
              <a:gd name="connsiteX0" fmla="*/ 355448 w 355448"/>
              <a:gd name="connsiteY0" fmla="*/ 0 h 457206"/>
              <a:gd name="connsiteX1" fmla="*/ 295072 w 355448"/>
              <a:gd name="connsiteY1" fmla="*/ 457206 h 457206"/>
              <a:gd name="connsiteX2" fmla="*/ 0 w 355448"/>
              <a:gd name="connsiteY2" fmla="*/ 457206 h 457206"/>
              <a:gd name="connsiteX3" fmla="*/ 58386 w 355448"/>
              <a:gd name="connsiteY3" fmla="*/ 0 h 457206"/>
              <a:gd name="connsiteX0" fmla="*/ 355448 w 355448"/>
              <a:gd name="connsiteY0" fmla="*/ 0 h 457206"/>
              <a:gd name="connsiteX1" fmla="*/ 294672 w 355448"/>
              <a:gd name="connsiteY1" fmla="*/ 457205 h 457206"/>
              <a:gd name="connsiteX2" fmla="*/ 0 w 355448"/>
              <a:gd name="connsiteY2" fmla="*/ 457206 h 457206"/>
              <a:gd name="connsiteX3" fmla="*/ 58386 w 355448"/>
              <a:gd name="connsiteY3" fmla="*/ 0 h 457206"/>
              <a:gd name="connsiteX0" fmla="*/ 355449 w 355449"/>
              <a:gd name="connsiteY0" fmla="*/ 0 h 457205"/>
              <a:gd name="connsiteX1" fmla="*/ 294673 w 355449"/>
              <a:gd name="connsiteY1" fmla="*/ 457205 h 457205"/>
              <a:gd name="connsiteX2" fmla="*/ 0 w 355449"/>
              <a:gd name="connsiteY2" fmla="*/ 457205 h 457205"/>
              <a:gd name="connsiteX3" fmla="*/ 58387 w 355449"/>
              <a:gd name="connsiteY3" fmla="*/ 0 h 457205"/>
              <a:gd name="connsiteX0" fmla="*/ 355449 w 355449"/>
              <a:gd name="connsiteY0" fmla="*/ 0 h 457205"/>
              <a:gd name="connsiteX1" fmla="*/ 294673 w 355449"/>
              <a:gd name="connsiteY1" fmla="*/ 457205 h 457205"/>
              <a:gd name="connsiteX2" fmla="*/ 0 w 355449"/>
              <a:gd name="connsiteY2" fmla="*/ 457205 h 457205"/>
              <a:gd name="connsiteX3" fmla="*/ 0 w 355449"/>
              <a:gd name="connsiteY3" fmla="*/ 1 h 457205"/>
              <a:gd name="connsiteX0" fmla="*/ 355449 w 355449"/>
              <a:gd name="connsiteY0" fmla="*/ 0 h 457205"/>
              <a:gd name="connsiteX1" fmla="*/ 294673 w 355449"/>
              <a:gd name="connsiteY1" fmla="*/ 457205 h 457205"/>
              <a:gd name="connsiteX2" fmla="*/ 0 w 355449"/>
              <a:gd name="connsiteY2" fmla="*/ 457205 h 457205"/>
              <a:gd name="connsiteX3" fmla="*/ 0 w 355449"/>
              <a:gd name="connsiteY3" fmla="*/ 1 h 457205"/>
              <a:gd name="connsiteX0" fmla="*/ 355449 w 355449"/>
              <a:gd name="connsiteY0" fmla="*/ 0 h 457205"/>
              <a:gd name="connsiteX1" fmla="*/ 294673 w 355449"/>
              <a:gd name="connsiteY1" fmla="*/ 457205 h 457205"/>
              <a:gd name="connsiteX2" fmla="*/ 0 w 355449"/>
              <a:gd name="connsiteY2" fmla="*/ 457205 h 457205"/>
              <a:gd name="connsiteX3" fmla="*/ 0 w 355449"/>
              <a:gd name="connsiteY3" fmla="*/ 1 h 457205"/>
              <a:gd name="connsiteX0" fmla="*/ 355449 w 355449"/>
              <a:gd name="connsiteY0" fmla="*/ 0 h 457205"/>
              <a:gd name="connsiteX1" fmla="*/ 294673 w 355449"/>
              <a:gd name="connsiteY1" fmla="*/ 457205 h 457205"/>
              <a:gd name="connsiteX2" fmla="*/ 0 w 355449"/>
              <a:gd name="connsiteY2" fmla="*/ 457205 h 457205"/>
              <a:gd name="connsiteX3" fmla="*/ 0 w 355449"/>
              <a:gd name="connsiteY3" fmla="*/ 1 h 457205"/>
              <a:gd name="connsiteX0" fmla="*/ 355449 w 355449"/>
              <a:gd name="connsiteY0" fmla="*/ 0 h 457205"/>
              <a:gd name="connsiteX1" fmla="*/ 294673 w 355449"/>
              <a:gd name="connsiteY1" fmla="*/ 457205 h 457205"/>
              <a:gd name="connsiteX2" fmla="*/ 0 w 355449"/>
              <a:gd name="connsiteY2" fmla="*/ 457205 h 457205"/>
              <a:gd name="connsiteX3" fmla="*/ 60775 w 355449"/>
              <a:gd name="connsiteY3" fmla="*/ 0 h 457205"/>
              <a:gd name="connsiteX0" fmla="*/ 363473 w 363473"/>
              <a:gd name="connsiteY0" fmla="*/ 0 h 457205"/>
              <a:gd name="connsiteX1" fmla="*/ 294673 w 363473"/>
              <a:gd name="connsiteY1" fmla="*/ 457205 h 457205"/>
              <a:gd name="connsiteX2" fmla="*/ 0 w 363473"/>
              <a:gd name="connsiteY2" fmla="*/ 457205 h 457205"/>
              <a:gd name="connsiteX3" fmla="*/ 60775 w 363473"/>
              <a:gd name="connsiteY3" fmla="*/ 0 h 457205"/>
              <a:gd name="connsiteX0" fmla="*/ 363473 w 363473"/>
              <a:gd name="connsiteY0" fmla="*/ 0 h 457205"/>
              <a:gd name="connsiteX1" fmla="*/ 293069 w 363473"/>
              <a:gd name="connsiteY1" fmla="*/ 457205 h 457205"/>
              <a:gd name="connsiteX2" fmla="*/ 0 w 363473"/>
              <a:gd name="connsiteY2" fmla="*/ 457205 h 457205"/>
              <a:gd name="connsiteX3" fmla="*/ 60775 w 363473"/>
              <a:gd name="connsiteY3" fmla="*/ 0 h 457205"/>
              <a:gd name="connsiteX0" fmla="*/ 363474 w 363474"/>
              <a:gd name="connsiteY0" fmla="*/ 0 h 457205"/>
              <a:gd name="connsiteX1" fmla="*/ 293070 w 363474"/>
              <a:gd name="connsiteY1" fmla="*/ 457205 h 457205"/>
              <a:gd name="connsiteX2" fmla="*/ 0 w 363474"/>
              <a:gd name="connsiteY2" fmla="*/ 457205 h 457205"/>
              <a:gd name="connsiteX3" fmla="*/ 60776 w 363474"/>
              <a:gd name="connsiteY3" fmla="*/ 0 h 457205"/>
              <a:gd name="connsiteX0" fmla="*/ 363474 w 363474"/>
              <a:gd name="connsiteY0" fmla="*/ 0 h 457205"/>
              <a:gd name="connsiteX1" fmla="*/ 293070 w 363474"/>
              <a:gd name="connsiteY1" fmla="*/ 457205 h 457205"/>
              <a:gd name="connsiteX2" fmla="*/ 0 w 363474"/>
              <a:gd name="connsiteY2" fmla="*/ 457205 h 457205"/>
              <a:gd name="connsiteX3" fmla="*/ 70406 w 363474"/>
              <a:gd name="connsiteY3" fmla="*/ 0 h 457205"/>
              <a:gd name="connsiteX0" fmla="*/ 366449 w 366449"/>
              <a:gd name="connsiteY0" fmla="*/ 0 h 457205"/>
              <a:gd name="connsiteX1" fmla="*/ 293070 w 366449"/>
              <a:gd name="connsiteY1" fmla="*/ 457205 h 457205"/>
              <a:gd name="connsiteX2" fmla="*/ 0 w 366449"/>
              <a:gd name="connsiteY2" fmla="*/ 457205 h 457205"/>
              <a:gd name="connsiteX3" fmla="*/ 70406 w 366449"/>
              <a:gd name="connsiteY3" fmla="*/ 0 h 457205"/>
              <a:gd name="connsiteX0" fmla="*/ 366449 w 366449"/>
              <a:gd name="connsiteY0" fmla="*/ 0 h 457205"/>
              <a:gd name="connsiteX1" fmla="*/ 296043 w 366449"/>
              <a:gd name="connsiteY1" fmla="*/ 457205 h 457205"/>
              <a:gd name="connsiteX2" fmla="*/ 0 w 366449"/>
              <a:gd name="connsiteY2" fmla="*/ 457205 h 457205"/>
              <a:gd name="connsiteX3" fmla="*/ 70406 w 366449"/>
              <a:gd name="connsiteY3" fmla="*/ 0 h 457205"/>
              <a:gd name="connsiteX0" fmla="*/ 366450 w 366450"/>
              <a:gd name="connsiteY0" fmla="*/ 0 h 457205"/>
              <a:gd name="connsiteX1" fmla="*/ 296044 w 366450"/>
              <a:gd name="connsiteY1" fmla="*/ 457205 h 457205"/>
              <a:gd name="connsiteX2" fmla="*/ 0 w 366450"/>
              <a:gd name="connsiteY2" fmla="*/ 457205 h 457205"/>
              <a:gd name="connsiteX3" fmla="*/ 70407 w 366450"/>
              <a:gd name="connsiteY3" fmla="*/ 0 h 457205"/>
              <a:gd name="connsiteX0" fmla="*/ 366450 w 366450"/>
              <a:gd name="connsiteY0" fmla="*/ 0 h 457205"/>
              <a:gd name="connsiteX1" fmla="*/ 296044 w 366450"/>
              <a:gd name="connsiteY1" fmla="*/ 457205 h 457205"/>
              <a:gd name="connsiteX2" fmla="*/ 0 w 366450"/>
              <a:gd name="connsiteY2" fmla="*/ 457205 h 457205"/>
              <a:gd name="connsiteX3" fmla="*/ 70406 w 366450"/>
              <a:gd name="connsiteY3" fmla="*/ 0 h 457205"/>
              <a:gd name="connsiteX0" fmla="*/ 366448 w 366448"/>
              <a:gd name="connsiteY0" fmla="*/ 0 h 457205"/>
              <a:gd name="connsiteX1" fmla="*/ 296044 w 366448"/>
              <a:gd name="connsiteY1" fmla="*/ 457205 h 457205"/>
              <a:gd name="connsiteX2" fmla="*/ 0 w 366448"/>
              <a:gd name="connsiteY2" fmla="*/ 457205 h 457205"/>
              <a:gd name="connsiteX3" fmla="*/ 70406 w 366448"/>
              <a:gd name="connsiteY3" fmla="*/ 0 h 457205"/>
              <a:gd name="connsiteX0" fmla="*/ 366448 w 366448"/>
              <a:gd name="connsiteY0" fmla="*/ 0 h 457205"/>
              <a:gd name="connsiteX1" fmla="*/ 296044 w 366448"/>
              <a:gd name="connsiteY1" fmla="*/ 457205 h 457205"/>
              <a:gd name="connsiteX2" fmla="*/ 0 w 366448"/>
              <a:gd name="connsiteY2" fmla="*/ 457205 h 457205"/>
              <a:gd name="connsiteX3" fmla="*/ 70406 w 366448"/>
              <a:gd name="connsiteY3" fmla="*/ 0 h 457205"/>
              <a:gd name="connsiteX0" fmla="*/ 366448 w 366448"/>
              <a:gd name="connsiteY0" fmla="*/ 0 h 457205"/>
              <a:gd name="connsiteX1" fmla="*/ 296044 w 366448"/>
              <a:gd name="connsiteY1" fmla="*/ 457205 h 457205"/>
              <a:gd name="connsiteX2" fmla="*/ 0 w 366448"/>
              <a:gd name="connsiteY2" fmla="*/ 457205 h 457205"/>
              <a:gd name="connsiteX3" fmla="*/ 70406 w 366448"/>
              <a:gd name="connsiteY3" fmla="*/ 0 h 457205"/>
              <a:gd name="connsiteX0" fmla="*/ 366448 w 366448"/>
              <a:gd name="connsiteY0" fmla="*/ 0 h 457205"/>
              <a:gd name="connsiteX1" fmla="*/ 296044 w 366448"/>
              <a:gd name="connsiteY1" fmla="*/ 457205 h 457205"/>
              <a:gd name="connsiteX2" fmla="*/ 0 w 366448"/>
              <a:gd name="connsiteY2" fmla="*/ 457205 h 457205"/>
              <a:gd name="connsiteX3" fmla="*/ 0 w 366448"/>
              <a:gd name="connsiteY3" fmla="*/ 0 h 457205"/>
              <a:gd name="connsiteX0" fmla="*/ 366448 w 366448"/>
              <a:gd name="connsiteY0" fmla="*/ 0 h 457205"/>
              <a:gd name="connsiteX1" fmla="*/ 296044 w 366448"/>
              <a:gd name="connsiteY1" fmla="*/ 457205 h 457205"/>
              <a:gd name="connsiteX2" fmla="*/ 0 w 366448"/>
              <a:gd name="connsiteY2" fmla="*/ 457205 h 457205"/>
              <a:gd name="connsiteX3" fmla="*/ 0 w 366448"/>
              <a:gd name="connsiteY3" fmla="*/ 0 h 457205"/>
              <a:gd name="connsiteX0" fmla="*/ 366448 w 366448"/>
              <a:gd name="connsiteY0" fmla="*/ 0 h 457205"/>
              <a:gd name="connsiteX1" fmla="*/ 296044 w 366448"/>
              <a:gd name="connsiteY1" fmla="*/ 457205 h 457205"/>
              <a:gd name="connsiteX2" fmla="*/ 0 w 366448"/>
              <a:gd name="connsiteY2" fmla="*/ 457205 h 457205"/>
              <a:gd name="connsiteX3" fmla="*/ 0 w 366448"/>
              <a:gd name="connsiteY3" fmla="*/ 0 h 457205"/>
              <a:gd name="connsiteX0" fmla="*/ 366449 w 366449"/>
              <a:gd name="connsiteY0" fmla="*/ 0 h 457205"/>
              <a:gd name="connsiteX1" fmla="*/ 296045 w 366449"/>
              <a:gd name="connsiteY1" fmla="*/ 457205 h 457205"/>
              <a:gd name="connsiteX2" fmla="*/ 0 w 366449"/>
              <a:gd name="connsiteY2" fmla="*/ 457205 h 457205"/>
              <a:gd name="connsiteX3" fmla="*/ 1 w 366449"/>
              <a:gd name="connsiteY3" fmla="*/ 0 h 457205"/>
              <a:gd name="connsiteX0" fmla="*/ 366449 w 366449"/>
              <a:gd name="connsiteY0" fmla="*/ 0 h 457205"/>
              <a:gd name="connsiteX1" fmla="*/ 296045 w 366449"/>
              <a:gd name="connsiteY1" fmla="*/ 457205 h 457205"/>
              <a:gd name="connsiteX2" fmla="*/ 0 w 366449"/>
              <a:gd name="connsiteY2" fmla="*/ 457205 h 457205"/>
              <a:gd name="connsiteX3" fmla="*/ 70406 w 366449"/>
              <a:gd name="connsiteY3" fmla="*/ 0 h 457205"/>
              <a:gd name="connsiteX0" fmla="*/ 366449 w 366449"/>
              <a:gd name="connsiteY0" fmla="*/ 0 h 457205"/>
              <a:gd name="connsiteX1" fmla="*/ 296045 w 366449"/>
              <a:gd name="connsiteY1" fmla="*/ 457205 h 457205"/>
              <a:gd name="connsiteX2" fmla="*/ 0 w 366449"/>
              <a:gd name="connsiteY2" fmla="*/ 457205 h 457205"/>
              <a:gd name="connsiteX3" fmla="*/ 70406 w 366449"/>
              <a:gd name="connsiteY3" fmla="*/ 0 h 457205"/>
              <a:gd name="connsiteX0" fmla="*/ 366449 w 366449"/>
              <a:gd name="connsiteY0" fmla="*/ 0 h 457205"/>
              <a:gd name="connsiteX1" fmla="*/ 296045 w 366449"/>
              <a:gd name="connsiteY1" fmla="*/ 457205 h 457205"/>
              <a:gd name="connsiteX2" fmla="*/ 0 w 366449"/>
              <a:gd name="connsiteY2" fmla="*/ 457205 h 457205"/>
              <a:gd name="connsiteX3" fmla="*/ 70406 w 366449"/>
              <a:gd name="connsiteY3" fmla="*/ 0 h 457205"/>
              <a:gd name="connsiteX0" fmla="*/ 366449 w 366449"/>
              <a:gd name="connsiteY0" fmla="*/ 0 h 457205"/>
              <a:gd name="connsiteX1" fmla="*/ 296045 w 366449"/>
              <a:gd name="connsiteY1" fmla="*/ 457205 h 457205"/>
              <a:gd name="connsiteX2" fmla="*/ 0 w 366449"/>
              <a:gd name="connsiteY2" fmla="*/ 457205 h 457205"/>
              <a:gd name="connsiteX3" fmla="*/ 70406 w 366449"/>
              <a:gd name="connsiteY3" fmla="*/ 0 h 457205"/>
              <a:gd name="connsiteX0" fmla="*/ 366449 w 366449"/>
              <a:gd name="connsiteY0" fmla="*/ 0 h 457205"/>
              <a:gd name="connsiteX1" fmla="*/ 296045 w 366449"/>
              <a:gd name="connsiteY1" fmla="*/ 457205 h 457205"/>
              <a:gd name="connsiteX2" fmla="*/ 0 w 366449"/>
              <a:gd name="connsiteY2" fmla="*/ 457205 h 457205"/>
              <a:gd name="connsiteX3" fmla="*/ 0 w 366449"/>
              <a:gd name="connsiteY3" fmla="*/ 0 h 457205"/>
              <a:gd name="connsiteX0" fmla="*/ 366448 w 366448"/>
              <a:gd name="connsiteY0" fmla="*/ 0 h 457205"/>
              <a:gd name="connsiteX1" fmla="*/ 296045 w 366448"/>
              <a:gd name="connsiteY1" fmla="*/ 457205 h 457205"/>
              <a:gd name="connsiteX2" fmla="*/ 0 w 366448"/>
              <a:gd name="connsiteY2" fmla="*/ 457205 h 457205"/>
              <a:gd name="connsiteX3" fmla="*/ 0 w 366448"/>
              <a:gd name="connsiteY3" fmla="*/ 0 h 457205"/>
              <a:gd name="connsiteX0" fmla="*/ 366448 w 366448"/>
              <a:gd name="connsiteY0" fmla="*/ 0 h 457205"/>
              <a:gd name="connsiteX1" fmla="*/ 296044 w 366448"/>
              <a:gd name="connsiteY1" fmla="*/ 457205 h 457205"/>
              <a:gd name="connsiteX2" fmla="*/ 0 w 366448"/>
              <a:gd name="connsiteY2" fmla="*/ 457205 h 457205"/>
              <a:gd name="connsiteX3" fmla="*/ 0 w 366448"/>
              <a:gd name="connsiteY3" fmla="*/ 0 h 457205"/>
              <a:gd name="connsiteX0" fmla="*/ 366449 w 366449"/>
              <a:gd name="connsiteY0" fmla="*/ 0 h 457205"/>
              <a:gd name="connsiteX1" fmla="*/ 296045 w 366449"/>
              <a:gd name="connsiteY1" fmla="*/ 457205 h 457205"/>
              <a:gd name="connsiteX2" fmla="*/ 0 w 366449"/>
              <a:gd name="connsiteY2" fmla="*/ 457205 h 457205"/>
              <a:gd name="connsiteX3" fmla="*/ 1 w 366449"/>
              <a:gd name="connsiteY3" fmla="*/ 0 h 457205"/>
              <a:gd name="connsiteX0" fmla="*/ 366449 w 366449"/>
              <a:gd name="connsiteY0" fmla="*/ 0 h 457205"/>
              <a:gd name="connsiteX1" fmla="*/ 296045 w 366449"/>
              <a:gd name="connsiteY1" fmla="*/ 457205 h 457205"/>
              <a:gd name="connsiteX2" fmla="*/ 0 w 366449"/>
              <a:gd name="connsiteY2" fmla="*/ 457205 h 457205"/>
              <a:gd name="connsiteX3" fmla="*/ 70405 w 366449"/>
              <a:gd name="connsiteY3" fmla="*/ 0 h 457205"/>
              <a:gd name="connsiteX0" fmla="*/ 362817 w 362817"/>
              <a:gd name="connsiteY0" fmla="*/ 0 h 457205"/>
              <a:gd name="connsiteX1" fmla="*/ 296045 w 362817"/>
              <a:gd name="connsiteY1" fmla="*/ 457205 h 457205"/>
              <a:gd name="connsiteX2" fmla="*/ 0 w 362817"/>
              <a:gd name="connsiteY2" fmla="*/ 457205 h 457205"/>
              <a:gd name="connsiteX3" fmla="*/ 70405 w 362817"/>
              <a:gd name="connsiteY3" fmla="*/ 0 h 457205"/>
              <a:gd name="connsiteX0" fmla="*/ 362817 w 362817"/>
              <a:gd name="connsiteY0" fmla="*/ 0 h 457205"/>
              <a:gd name="connsiteX1" fmla="*/ 296953 w 362817"/>
              <a:gd name="connsiteY1" fmla="*/ 457204 h 457205"/>
              <a:gd name="connsiteX2" fmla="*/ 0 w 362817"/>
              <a:gd name="connsiteY2" fmla="*/ 457205 h 457205"/>
              <a:gd name="connsiteX3" fmla="*/ 70405 w 362817"/>
              <a:gd name="connsiteY3" fmla="*/ 0 h 457205"/>
              <a:gd name="connsiteX0" fmla="*/ 362817 w 362817"/>
              <a:gd name="connsiteY0" fmla="*/ 0 h 457204"/>
              <a:gd name="connsiteX1" fmla="*/ 296953 w 362817"/>
              <a:gd name="connsiteY1" fmla="*/ 457204 h 457204"/>
              <a:gd name="connsiteX2" fmla="*/ 0 w 362817"/>
              <a:gd name="connsiteY2" fmla="*/ 457204 h 457204"/>
              <a:gd name="connsiteX3" fmla="*/ 70405 w 362817"/>
              <a:gd name="connsiteY3" fmla="*/ 0 h 457204"/>
              <a:gd name="connsiteX0" fmla="*/ 362817 w 362817"/>
              <a:gd name="connsiteY0" fmla="*/ 0 h 457204"/>
              <a:gd name="connsiteX1" fmla="*/ 296953 w 362817"/>
              <a:gd name="connsiteY1" fmla="*/ 457204 h 457204"/>
              <a:gd name="connsiteX2" fmla="*/ 0 w 362817"/>
              <a:gd name="connsiteY2" fmla="*/ 457204 h 457204"/>
              <a:gd name="connsiteX3" fmla="*/ 0 w 362817"/>
              <a:gd name="connsiteY3" fmla="*/ 1 h 457204"/>
              <a:gd name="connsiteX0" fmla="*/ 362816 w 362816"/>
              <a:gd name="connsiteY0" fmla="*/ 0 h 457204"/>
              <a:gd name="connsiteX1" fmla="*/ 296953 w 362816"/>
              <a:gd name="connsiteY1" fmla="*/ 457204 h 457204"/>
              <a:gd name="connsiteX2" fmla="*/ 0 w 362816"/>
              <a:gd name="connsiteY2" fmla="*/ 457204 h 457204"/>
              <a:gd name="connsiteX3" fmla="*/ 0 w 362816"/>
              <a:gd name="connsiteY3" fmla="*/ 1 h 457204"/>
              <a:gd name="connsiteX0" fmla="*/ 362816 w 362816"/>
              <a:gd name="connsiteY0" fmla="*/ 0 h 457204"/>
              <a:gd name="connsiteX1" fmla="*/ 296953 w 362816"/>
              <a:gd name="connsiteY1" fmla="*/ 457204 h 457204"/>
              <a:gd name="connsiteX2" fmla="*/ 0 w 362816"/>
              <a:gd name="connsiteY2" fmla="*/ 457204 h 457204"/>
              <a:gd name="connsiteX3" fmla="*/ 0 w 362816"/>
              <a:gd name="connsiteY3" fmla="*/ 1 h 457204"/>
              <a:gd name="connsiteX0" fmla="*/ 362817 w 362817"/>
              <a:gd name="connsiteY0" fmla="*/ 0 h 457204"/>
              <a:gd name="connsiteX1" fmla="*/ 296954 w 362817"/>
              <a:gd name="connsiteY1" fmla="*/ 457204 h 457204"/>
              <a:gd name="connsiteX2" fmla="*/ 0 w 362817"/>
              <a:gd name="connsiteY2" fmla="*/ 457204 h 457204"/>
              <a:gd name="connsiteX3" fmla="*/ 1 w 362817"/>
              <a:gd name="connsiteY3" fmla="*/ 1 h 457204"/>
              <a:gd name="connsiteX0" fmla="*/ 362817 w 362817"/>
              <a:gd name="connsiteY0" fmla="*/ 0 h 457204"/>
              <a:gd name="connsiteX1" fmla="*/ 296954 w 362817"/>
              <a:gd name="connsiteY1" fmla="*/ 457204 h 457204"/>
              <a:gd name="connsiteX2" fmla="*/ 0 w 362817"/>
              <a:gd name="connsiteY2" fmla="*/ 457204 h 457204"/>
              <a:gd name="connsiteX3" fmla="*/ 65864 w 362817"/>
              <a:gd name="connsiteY3" fmla="*/ 0 h 457204"/>
              <a:gd name="connsiteX0" fmla="*/ 362816 w 362816"/>
              <a:gd name="connsiteY0" fmla="*/ 0 h 457204"/>
              <a:gd name="connsiteX1" fmla="*/ 296954 w 362816"/>
              <a:gd name="connsiteY1" fmla="*/ 457204 h 457204"/>
              <a:gd name="connsiteX2" fmla="*/ 0 w 362816"/>
              <a:gd name="connsiteY2" fmla="*/ 457204 h 457204"/>
              <a:gd name="connsiteX3" fmla="*/ 65864 w 362816"/>
              <a:gd name="connsiteY3" fmla="*/ 0 h 457204"/>
              <a:gd name="connsiteX0" fmla="*/ 362816 w 362816"/>
              <a:gd name="connsiteY0" fmla="*/ 0 h 457204"/>
              <a:gd name="connsiteX1" fmla="*/ 296953 w 362816"/>
              <a:gd name="connsiteY1" fmla="*/ 457204 h 457204"/>
              <a:gd name="connsiteX2" fmla="*/ 0 w 362816"/>
              <a:gd name="connsiteY2" fmla="*/ 457204 h 457204"/>
              <a:gd name="connsiteX3" fmla="*/ 65864 w 362816"/>
              <a:gd name="connsiteY3" fmla="*/ 0 h 457204"/>
              <a:gd name="connsiteX0" fmla="*/ 362816 w 362816"/>
              <a:gd name="connsiteY0" fmla="*/ 0 h 457204"/>
              <a:gd name="connsiteX1" fmla="*/ 296953 w 362816"/>
              <a:gd name="connsiteY1" fmla="*/ 457204 h 457204"/>
              <a:gd name="connsiteX2" fmla="*/ 0 w 362816"/>
              <a:gd name="connsiteY2" fmla="*/ 457204 h 457204"/>
              <a:gd name="connsiteX3" fmla="*/ 65864 w 362816"/>
              <a:gd name="connsiteY3" fmla="*/ 0 h 457204"/>
              <a:gd name="connsiteX0" fmla="*/ 362816 w 362816"/>
              <a:gd name="connsiteY0" fmla="*/ 0 h 457204"/>
              <a:gd name="connsiteX1" fmla="*/ 296953 w 362816"/>
              <a:gd name="connsiteY1" fmla="*/ 457204 h 457204"/>
              <a:gd name="connsiteX2" fmla="*/ 0 w 362816"/>
              <a:gd name="connsiteY2" fmla="*/ 457204 h 457204"/>
              <a:gd name="connsiteX3" fmla="*/ 0 w 362816"/>
              <a:gd name="connsiteY3" fmla="*/ 0 h 457204"/>
              <a:gd name="connsiteX0" fmla="*/ 362817 w 362817"/>
              <a:gd name="connsiteY0" fmla="*/ 0 h 457204"/>
              <a:gd name="connsiteX1" fmla="*/ 296953 w 362817"/>
              <a:gd name="connsiteY1" fmla="*/ 457204 h 457204"/>
              <a:gd name="connsiteX2" fmla="*/ 0 w 362817"/>
              <a:gd name="connsiteY2" fmla="*/ 457204 h 457204"/>
              <a:gd name="connsiteX3" fmla="*/ 0 w 362817"/>
              <a:gd name="connsiteY3" fmla="*/ 0 h 457204"/>
              <a:gd name="connsiteX0" fmla="*/ 362817 w 362817"/>
              <a:gd name="connsiteY0" fmla="*/ 0 h 457204"/>
              <a:gd name="connsiteX1" fmla="*/ 296953 w 362817"/>
              <a:gd name="connsiteY1" fmla="*/ 457204 h 457204"/>
              <a:gd name="connsiteX2" fmla="*/ 0 w 362817"/>
              <a:gd name="connsiteY2" fmla="*/ 457204 h 457204"/>
              <a:gd name="connsiteX3" fmla="*/ 0 w 362817"/>
              <a:gd name="connsiteY3" fmla="*/ 0 h 457204"/>
              <a:gd name="connsiteX0" fmla="*/ 362818 w 362818"/>
              <a:gd name="connsiteY0" fmla="*/ 0 h 457204"/>
              <a:gd name="connsiteX1" fmla="*/ 296954 w 362818"/>
              <a:gd name="connsiteY1" fmla="*/ 457204 h 457204"/>
              <a:gd name="connsiteX2" fmla="*/ 0 w 362818"/>
              <a:gd name="connsiteY2" fmla="*/ 457204 h 457204"/>
              <a:gd name="connsiteX3" fmla="*/ 1 w 362818"/>
              <a:gd name="connsiteY3" fmla="*/ 0 h 457204"/>
              <a:gd name="connsiteX0" fmla="*/ 362818 w 362818"/>
              <a:gd name="connsiteY0" fmla="*/ 0 h 457204"/>
              <a:gd name="connsiteX1" fmla="*/ 296954 w 362818"/>
              <a:gd name="connsiteY1" fmla="*/ 457204 h 457204"/>
              <a:gd name="connsiteX2" fmla="*/ 0 w 362818"/>
              <a:gd name="connsiteY2" fmla="*/ 457204 h 457204"/>
              <a:gd name="connsiteX3" fmla="*/ 65865 w 362818"/>
              <a:gd name="connsiteY3" fmla="*/ 0 h 457204"/>
              <a:gd name="connsiteX0" fmla="*/ 351604 w 351604"/>
              <a:gd name="connsiteY0" fmla="*/ 0 h 457204"/>
              <a:gd name="connsiteX1" fmla="*/ 296954 w 351604"/>
              <a:gd name="connsiteY1" fmla="*/ 457204 h 457204"/>
              <a:gd name="connsiteX2" fmla="*/ 0 w 351604"/>
              <a:gd name="connsiteY2" fmla="*/ 457204 h 457204"/>
              <a:gd name="connsiteX3" fmla="*/ 65865 w 351604"/>
              <a:gd name="connsiteY3" fmla="*/ 0 h 457204"/>
              <a:gd name="connsiteX0" fmla="*/ 351604 w 351604"/>
              <a:gd name="connsiteY0" fmla="*/ 0 h 457204"/>
              <a:gd name="connsiteX1" fmla="*/ 299757 w 351604"/>
              <a:gd name="connsiteY1" fmla="*/ 457202 h 457204"/>
              <a:gd name="connsiteX2" fmla="*/ 0 w 351604"/>
              <a:gd name="connsiteY2" fmla="*/ 457204 h 457204"/>
              <a:gd name="connsiteX3" fmla="*/ 65865 w 351604"/>
              <a:gd name="connsiteY3" fmla="*/ 0 h 457204"/>
              <a:gd name="connsiteX0" fmla="*/ 351604 w 351604"/>
              <a:gd name="connsiteY0" fmla="*/ 0 h 457202"/>
              <a:gd name="connsiteX1" fmla="*/ 299757 w 351604"/>
              <a:gd name="connsiteY1" fmla="*/ 457202 h 457202"/>
              <a:gd name="connsiteX2" fmla="*/ 0 w 351604"/>
              <a:gd name="connsiteY2" fmla="*/ 457202 h 457202"/>
              <a:gd name="connsiteX3" fmla="*/ 65865 w 351604"/>
              <a:gd name="connsiteY3" fmla="*/ 0 h 457202"/>
              <a:gd name="connsiteX0" fmla="*/ 351604 w 351604"/>
              <a:gd name="connsiteY0" fmla="*/ 0 h 457202"/>
              <a:gd name="connsiteX1" fmla="*/ 299757 w 351604"/>
              <a:gd name="connsiteY1" fmla="*/ 457202 h 457202"/>
              <a:gd name="connsiteX2" fmla="*/ 0 w 351604"/>
              <a:gd name="connsiteY2" fmla="*/ 457202 h 457202"/>
              <a:gd name="connsiteX3" fmla="*/ 51847 w 351604"/>
              <a:gd name="connsiteY3" fmla="*/ 2 h 457202"/>
              <a:gd name="connsiteX0" fmla="*/ 1550632 w 1550632"/>
              <a:gd name="connsiteY0" fmla="*/ 0 h 457202"/>
              <a:gd name="connsiteX1" fmla="*/ 299757 w 1550632"/>
              <a:gd name="connsiteY1" fmla="*/ 457202 h 457202"/>
              <a:gd name="connsiteX2" fmla="*/ 0 w 1550632"/>
              <a:gd name="connsiteY2" fmla="*/ 457202 h 457202"/>
              <a:gd name="connsiteX3" fmla="*/ 51847 w 1550632"/>
              <a:gd name="connsiteY3" fmla="*/ 2 h 457202"/>
              <a:gd name="connsiteX0" fmla="*/ 1550632 w 1550632"/>
              <a:gd name="connsiteY0" fmla="*/ 0 h 457202"/>
              <a:gd name="connsiteX1" fmla="*/ 1498784 w 1550632"/>
              <a:gd name="connsiteY1" fmla="*/ 457202 h 457202"/>
              <a:gd name="connsiteX2" fmla="*/ 0 w 1550632"/>
              <a:gd name="connsiteY2" fmla="*/ 457202 h 457202"/>
              <a:gd name="connsiteX3" fmla="*/ 51847 w 1550632"/>
              <a:gd name="connsiteY3" fmla="*/ 2 h 457202"/>
              <a:gd name="connsiteX0" fmla="*/ 1550633 w 1550633"/>
              <a:gd name="connsiteY0" fmla="*/ 0 h 457202"/>
              <a:gd name="connsiteX1" fmla="*/ 1498785 w 1550633"/>
              <a:gd name="connsiteY1" fmla="*/ 457202 h 457202"/>
              <a:gd name="connsiteX2" fmla="*/ 0 w 1550633"/>
              <a:gd name="connsiteY2" fmla="*/ 457202 h 457202"/>
              <a:gd name="connsiteX3" fmla="*/ 51848 w 1550633"/>
              <a:gd name="connsiteY3" fmla="*/ 2 h 457202"/>
              <a:gd name="connsiteX0" fmla="*/ 1550633 w 1550633"/>
              <a:gd name="connsiteY0" fmla="*/ 0 h 457202"/>
              <a:gd name="connsiteX1" fmla="*/ 1498785 w 1550633"/>
              <a:gd name="connsiteY1" fmla="*/ 457202 h 457202"/>
              <a:gd name="connsiteX2" fmla="*/ 0 w 1550633"/>
              <a:gd name="connsiteY2" fmla="*/ 457202 h 457202"/>
              <a:gd name="connsiteX3" fmla="*/ 51847 w 1550633"/>
              <a:gd name="connsiteY3" fmla="*/ 0 h 457202"/>
              <a:gd name="connsiteX0" fmla="*/ 1550633 w 1550633"/>
              <a:gd name="connsiteY0" fmla="*/ 0 h 457202"/>
              <a:gd name="connsiteX1" fmla="*/ 1498785 w 1550633"/>
              <a:gd name="connsiteY1" fmla="*/ 457202 h 457202"/>
              <a:gd name="connsiteX2" fmla="*/ 0 w 1550633"/>
              <a:gd name="connsiteY2" fmla="*/ 457202 h 457202"/>
              <a:gd name="connsiteX3" fmla="*/ 51847 w 1550633"/>
              <a:gd name="connsiteY3" fmla="*/ 0 h 457202"/>
              <a:gd name="connsiteX0" fmla="*/ 1550633 w 1550633"/>
              <a:gd name="connsiteY0" fmla="*/ 0 h 457202"/>
              <a:gd name="connsiteX1" fmla="*/ 1402251 w 1550633"/>
              <a:gd name="connsiteY1" fmla="*/ 457202 h 457202"/>
              <a:gd name="connsiteX2" fmla="*/ 0 w 1550633"/>
              <a:gd name="connsiteY2" fmla="*/ 457202 h 457202"/>
              <a:gd name="connsiteX3" fmla="*/ 51847 w 1550633"/>
              <a:gd name="connsiteY3" fmla="*/ 0 h 457202"/>
              <a:gd name="connsiteX0" fmla="*/ 1550633 w 1550633"/>
              <a:gd name="connsiteY0" fmla="*/ 0 h 457202"/>
              <a:gd name="connsiteX1" fmla="*/ 1402251 w 1550633"/>
              <a:gd name="connsiteY1" fmla="*/ 457202 h 457202"/>
              <a:gd name="connsiteX2" fmla="*/ 0 w 1550633"/>
              <a:gd name="connsiteY2" fmla="*/ 457202 h 457202"/>
              <a:gd name="connsiteX3" fmla="*/ 51847 w 1550633"/>
              <a:gd name="connsiteY3" fmla="*/ 0 h 457202"/>
              <a:gd name="connsiteX0" fmla="*/ 1550633 w 1550633"/>
              <a:gd name="connsiteY0" fmla="*/ 0 h 457202"/>
              <a:gd name="connsiteX1" fmla="*/ 1402251 w 1550633"/>
              <a:gd name="connsiteY1" fmla="*/ 457202 h 457202"/>
              <a:gd name="connsiteX2" fmla="*/ 0 w 1550633"/>
              <a:gd name="connsiteY2" fmla="*/ 457202 h 457202"/>
              <a:gd name="connsiteX3" fmla="*/ 148382 w 1550633"/>
              <a:gd name="connsiteY3" fmla="*/ 0 h 457202"/>
              <a:gd name="connsiteX0" fmla="*/ 1550633 w 1550633"/>
              <a:gd name="connsiteY0" fmla="*/ 0 h 457202"/>
              <a:gd name="connsiteX1" fmla="*/ 1402251 w 1550633"/>
              <a:gd name="connsiteY1" fmla="*/ 457202 h 457202"/>
              <a:gd name="connsiteX2" fmla="*/ 0 w 1550633"/>
              <a:gd name="connsiteY2" fmla="*/ 457202 h 457202"/>
              <a:gd name="connsiteX3" fmla="*/ 148382 w 1550633"/>
              <a:gd name="connsiteY3" fmla="*/ 0 h 457202"/>
              <a:gd name="connsiteX0" fmla="*/ 1550633 w 1550633"/>
              <a:gd name="connsiteY0" fmla="*/ 0 h 457202"/>
              <a:gd name="connsiteX1" fmla="*/ 1381397 w 1550633"/>
              <a:gd name="connsiteY1" fmla="*/ 457202 h 457202"/>
              <a:gd name="connsiteX2" fmla="*/ 0 w 1550633"/>
              <a:gd name="connsiteY2" fmla="*/ 457202 h 457202"/>
              <a:gd name="connsiteX3" fmla="*/ 148382 w 1550633"/>
              <a:gd name="connsiteY3" fmla="*/ 0 h 457202"/>
              <a:gd name="connsiteX0" fmla="*/ 1550633 w 1550633"/>
              <a:gd name="connsiteY0" fmla="*/ 0 h 457202"/>
              <a:gd name="connsiteX1" fmla="*/ 1381397 w 1550633"/>
              <a:gd name="connsiteY1" fmla="*/ 457202 h 457202"/>
              <a:gd name="connsiteX2" fmla="*/ 0 w 1550633"/>
              <a:gd name="connsiteY2" fmla="*/ 457202 h 457202"/>
              <a:gd name="connsiteX3" fmla="*/ 148382 w 1550633"/>
              <a:gd name="connsiteY3" fmla="*/ 0 h 457202"/>
              <a:gd name="connsiteX0" fmla="*/ 1550633 w 1550633"/>
              <a:gd name="connsiteY0" fmla="*/ 0 h 457202"/>
              <a:gd name="connsiteX1" fmla="*/ 1381397 w 1550633"/>
              <a:gd name="connsiteY1" fmla="*/ 457202 h 457202"/>
              <a:gd name="connsiteX2" fmla="*/ 0 w 1550633"/>
              <a:gd name="connsiteY2" fmla="*/ 457202 h 457202"/>
              <a:gd name="connsiteX3" fmla="*/ 0 w 1550633"/>
              <a:gd name="connsiteY3" fmla="*/ 0 h 457202"/>
              <a:gd name="connsiteX0" fmla="*/ 1550633 w 1550633"/>
              <a:gd name="connsiteY0" fmla="*/ 0 h 457202"/>
              <a:gd name="connsiteX1" fmla="*/ 1381397 w 1550633"/>
              <a:gd name="connsiteY1" fmla="*/ 457202 h 457202"/>
              <a:gd name="connsiteX2" fmla="*/ 0 w 1550633"/>
              <a:gd name="connsiteY2" fmla="*/ 457202 h 457202"/>
              <a:gd name="connsiteX3" fmla="*/ 0 w 1550633"/>
              <a:gd name="connsiteY3" fmla="*/ 0 h 457202"/>
              <a:gd name="connsiteX0" fmla="*/ 1550633 w 1550633"/>
              <a:gd name="connsiteY0" fmla="*/ 0 h 457202"/>
              <a:gd name="connsiteX1" fmla="*/ 1381397 w 1550633"/>
              <a:gd name="connsiteY1" fmla="*/ 457202 h 457202"/>
              <a:gd name="connsiteX2" fmla="*/ 0 w 1550633"/>
              <a:gd name="connsiteY2" fmla="*/ 457202 h 457202"/>
              <a:gd name="connsiteX3" fmla="*/ 0 w 1550633"/>
              <a:gd name="connsiteY3" fmla="*/ 0 h 457202"/>
              <a:gd name="connsiteX0" fmla="*/ 1550633 w 1550633"/>
              <a:gd name="connsiteY0" fmla="*/ 0 h 457202"/>
              <a:gd name="connsiteX1" fmla="*/ 1381397 w 1550633"/>
              <a:gd name="connsiteY1" fmla="*/ 457202 h 457202"/>
              <a:gd name="connsiteX2" fmla="*/ 0 w 1550633"/>
              <a:gd name="connsiteY2" fmla="*/ 457202 h 457202"/>
              <a:gd name="connsiteX3" fmla="*/ 0 w 1550633"/>
              <a:gd name="connsiteY3" fmla="*/ 0 h 457202"/>
              <a:gd name="connsiteX0" fmla="*/ 1550633 w 1550633"/>
              <a:gd name="connsiteY0" fmla="*/ 0 h 457202"/>
              <a:gd name="connsiteX1" fmla="*/ 1381397 w 1550633"/>
              <a:gd name="connsiteY1" fmla="*/ 457202 h 457202"/>
              <a:gd name="connsiteX2" fmla="*/ 0 w 1550633"/>
              <a:gd name="connsiteY2" fmla="*/ 457202 h 457202"/>
              <a:gd name="connsiteX3" fmla="*/ 169236 w 1550633"/>
              <a:gd name="connsiteY3" fmla="*/ 0 h 457202"/>
              <a:gd name="connsiteX0" fmla="*/ 1600718 w 1600718"/>
              <a:gd name="connsiteY0" fmla="*/ 0 h 457203"/>
              <a:gd name="connsiteX1" fmla="*/ 1381397 w 1600718"/>
              <a:gd name="connsiteY1" fmla="*/ 457203 h 457203"/>
              <a:gd name="connsiteX2" fmla="*/ 0 w 1600718"/>
              <a:gd name="connsiteY2" fmla="*/ 457203 h 457203"/>
              <a:gd name="connsiteX3" fmla="*/ 169236 w 1600718"/>
              <a:gd name="connsiteY3" fmla="*/ 1 h 457203"/>
              <a:gd name="connsiteX0" fmla="*/ 1600718 w 1600718"/>
              <a:gd name="connsiteY0" fmla="*/ 0 h 457203"/>
              <a:gd name="connsiteX1" fmla="*/ 1392917 w 1600718"/>
              <a:gd name="connsiteY1" fmla="*/ 457202 h 457203"/>
              <a:gd name="connsiteX2" fmla="*/ 0 w 1600718"/>
              <a:gd name="connsiteY2" fmla="*/ 457203 h 457203"/>
              <a:gd name="connsiteX3" fmla="*/ 169236 w 1600718"/>
              <a:gd name="connsiteY3" fmla="*/ 1 h 457203"/>
              <a:gd name="connsiteX0" fmla="*/ 1600718 w 1600718"/>
              <a:gd name="connsiteY0" fmla="*/ 0 h 457202"/>
              <a:gd name="connsiteX1" fmla="*/ 1392917 w 1600718"/>
              <a:gd name="connsiteY1" fmla="*/ 457202 h 457202"/>
              <a:gd name="connsiteX2" fmla="*/ 0 w 1600718"/>
              <a:gd name="connsiteY2" fmla="*/ 457202 h 457202"/>
              <a:gd name="connsiteX3" fmla="*/ 169236 w 1600718"/>
              <a:gd name="connsiteY3" fmla="*/ 1 h 457202"/>
              <a:gd name="connsiteX0" fmla="*/ 1600718 w 1600718"/>
              <a:gd name="connsiteY0" fmla="*/ 0 h 457202"/>
              <a:gd name="connsiteX1" fmla="*/ 1392917 w 1600718"/>
              <a:gd name="connsiteY1" fmla="*/ 457202 h 457202"/>
              <a:gd name="connsiteX2" fmla="*/ 0 w 1600718"/>
              <a:gd name="connsiteY2" fmla="*/ 457202 h 457202"/>
              <a:gd name="connsiteX3" fmla="*/ 0 w 1600718"/>
              <a:gd name="connsiteY3" fmla="*/ 1 h 457202"/>
              <a:gd name="connsiteX0" fmla="*/ 1600718 w 1600718"/>
              <a:gd name="connsiteY0" fmla="*/ 0 h 457201"/>
              <a:gd name="connsiteX1" fmla="*/ 1392917 w 1600718"/>
              <a:gd name="connsiteY1" fmla="*/ 457201 h 457201"/>
              <a:gd name="connsiteX2" fmla="*/ 0 w 1600718"/>
              <a:gd name="connsiteY2" fmla="*/ 457201 h 457201"/>
              <a:gd name="connsiteX3" fmla="*/ 0 w 1600718"/>
              <a:gd name="connsiteY3" fmla="*/ 0 h 457201"/>
              <a:gd name="connsiteX0" fmla="*/ 1600718 w 1600718"/>
              <a:gd name="connsiteY0" fmla="*/ 0 h 457201"/>
              <a:gd name="connsiteX1" fmla="*/ 1392917 w 1600718"/>
              <a:gd name="connsiteY1" fmla="*/ 457200 h 457201"/>
              <a:gd name="connsiteX2" fmla="*/ 0 w 1600718"/>
              <a:gd name="connsiteY2" fmla="*/ 457201 h 457201"/>
              <a:gd name="connsiteX3" fmla="*/ 0 w 1600718"/>
              <a:gd name="connsiteY3" fmla="*/ 0 h 457201"/>
              <a:gd name="connsiteX0" fmla="*/ 1600718 w 1600718"/>
              <a:gd name="connsiteY0" fmla="*/ 0 h 457200"/>
              <a:gd name="connsiteX1" fmla="*/ 1392917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392917 w 1600718"/>
              <a:gd name="connsiteY1" fmla="*/ 457200 h 457200"/>
              <a:gd name="connsiteX2" fmla="*/ 0 w 1600718"/>
              <a:gd name="connsiteY2" fmla="*/ 457200 h 457200"/>
              <a:gd name="connsiteX3" fmla="*/ 207801 w 1600718"/>
              <a:gd name="connsiteY3" fmla="*/ 0 h 457200"/>
              <a:gd name="connsiteX0" fmla="*/ 1600718 w 1600718"/>
              <a:gd name="connsiteY0" fmla="*/ 0 h 457200"/>
              <a:gd name="connsiteX1" fmla="*/ 1392917 w 1600718"/>
              <a:gd name="connsiteY1" fmla="*/ 457200 h 457200"/>
              <a:gd name="connsiteX2" fmla="*/ 0 w 1600718"/>
              <a:gd name="connsiteY2" fmla="*/ 457200 h 457200"/>
              <a:gd name="connsiteX3" fmla="*/ 207801 w 1600718"/>
              <a:gd name="connsiteY3" fmla="*/ 0 h 457200"/>
              <a:gd name="connsiteX0" fmla="*/ 1600718 w 1600718"/>
              <a:gd name="connsiteY0" fmla="*/ 0 h 457200"/>
              <a:gd name="connsiteX1" fmla="*/ 1405526 w 1600718"/>
              <a:gd name="connsiteY1" fmla="*/ 457200 h 457200"/>
              <a:gd name="connsiteX2" fmla="*/ 0 w 1600718"/>
              <a:gd name="connsiteY2" fmla="*/ 457200 h 457200"/>
              <a:gd name="connsiteX3" fmla="*/ 207801 w 1600718"/>
              <a:gd name="connsiteY3" fmla="*/ 0 h 457200"/>
              <a:gd name="connsiteX0" fmla="*/ 1600718 w 1600718"/>
              <a:gd name="connsiteY0" fmla="*/ 0 h 457200"/>
              <a:gd name="connsiteX1" fmla="*/ 1405526 w 1600718"/>
              <a:gd name="connsiteY1" fmla="*/ 457200 h 457200"/>
              <a:gd name="connsiteX2" fmla="*/ 0 w 1600718"/>
              <a:gd name="connsiteY2" fmla="*/ 457200 h 457200"/>
              <a:gd name="connsiteX3" fmla="*/ 207801 w 1600718"/>
              <a:gd name="connsiteY3" fmla="*/ 0 h 457200"/>
              <a:gd name="connsiteX0" fmla="*/ 1600718 w 1600718"/>
              <a:gd name="connsiteY0" fmla="*/ 0 h 457200"/>
              <a:gd name="connsiteX1" fmla="*/ 1405526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405526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405526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405526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405526 w 1600718"/>
              <a:gd name="connsiteY1" fmla="*/ 457200 h 457200"/>
              <a:gd name="connsiteX2" fmla="*/ 0 w 1600718"/>
              <a:gd name="connsiteY2" fmla="*/ 457200 h 457200"/>
              <a:gd name="connsiteX3" fmla="*/ 195192 w 1600718"/>
              <a:gd name="connsiteY3" fmla="*/ 0 h 457200"/>
              <a:gd name="connsiteX0" fmla="*/ 1600718 w 1600718"/>
              <a:gd name="connsiteY0" fmla="*/ 0 h 457200"/>
              <a:gd name="connsiteX1" fmla="*/ 1405526 w 1600718"/>
              <a:gd name="connsiteY1" fmla="*/ 457200 h 457200"/>
              <a:gd name="connsiteX2" fmla="*/ 0 w 1600718"/>
              <a:gd name="connsiteY2" fmla="*/ 457200 h 457200"/>
              <a:gd name="connsiteX3" fmla="*/ 195192 w 1600718"/>
              <a:gd name="connsiteY3" fmla="*/ 0 h 457200"/>
              <a:gd name="connsiteX0" fmla="*/ 1600718 w 1600718"/>
              <a:gd name="connsiteY0" fmla="*/ 0 h 457200"/>
              <a:gd name="connsiteX1" fmla="*/ 1398473 w 1600718"/>
              <a:gd name="connsiteY1" fmla="*/ 457200 h 457200"/>
              <a:gd name="connsiteX2" fmla="*/ 0 w 1600718"/>
              <a:gd name="connsiteY2" fmla="*/ 457200 h 457200"/>
              <a:gd name="connsiteX3" fmla="*/ 195192 w 1600718"/>
              <a:gd name="connsiteY3" fmla="*/ 0 h 457200"/>
              <a:gd name="connsiteX0" fmla="*/ 1600718 w 1600718"/>
              <a:gd name="connsiteY0" fmla="*/ 0 h 457200"/>
              <a:gd name="connsiteX1" fmla="*/ 1398473 w 1600718"/>
              <a:gd name="connsiteY1" fmla="*/ 457200 h 457200"/>
              <a:gd name="connsiteX2" fmla="*/ 0 w 1600718"/>
              <a:gd name="connsiteY2" fmla="*/ 457200 h 457200"/>
              <a:gd name="connsiteX3" fmla="*/ 195192 w 1600718"/>
              <a:gd name="connsiteY3" fmla="*/ 0 h 457200"/>
              <a:gd name="connsiteX0" fmla="*/ 1600718 w 1600718"/>
              <a:gd name="connsiteY0" fmla="*/ 0 h 457200"/>
              <a:gd name="connsiteX1" fmla="*/ 1398473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398473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398473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398473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398473 w 1600718"/>
              <a:gd name="connsiteY1" fmla="*/ 457200 h 457200"/>
              <a:gd name="connsiteX2" fmla="*/ 0 w 1600718"/>
              <a:gd name="connsiteY2" fmla="*/ 457200 h 457200"/>
              <a:gd name="connsiteX3" fmla="*/ 202244 w 1600718"/>
              <a:gd name="connsiteY3" fmla="*/ 0 h 457200"/>
              <a:gd name="connsiteX0" fmla="*/ 1600718 w 1600718"/>
              <a:gd name="connsiteY0" fmla="*/ 0 h 457200"/>
              <a:gd name="connsiteX1" fmla="*/ 1398473 w 1600718"/>
              <a:gd name="connsiteY1" fmla="*/ 457200 h 457200"/>
              <a:gd name="connsiteX2" fmla="*/ 0 w 1600718"/>
              <a:gd name="connsiteY2" fmla="*/ 457200 h 457200"/>
              <a:gd name="connsiteX3" fmla="*/ 202244 w 1600718"/>
              <a:gd name="connsiteY3" fmla="*/ 0 h 457200"/>
              <a:gd name="connsiteX0" fmla="*/ 1600718 w 1600718"/>
              <a:gd name="connsiteY0" fmla="*/ 0 h 457200"/>
              <a:gd name="connsiteX1" fmla="*/ 1412253 w 1600718"/>
              <a:gd name="connsiteY1" fmla="*/ 457200 h 457200"/>
              <a:gd name="connsiteX2" fmla="*/ 0 w 1600718"/>
              <a:gd name="connsiteY2" fmla="*/ 457200 h 457200"/>
              <a:gd name="connsiteX3" fmla="*/ 202244 w 1600718"/>
              <a:gd name="connsiteY3" fmla="*/ 0 h 457200"/>
              <a:gd name="connsiteX0" fmla="*/ 1600718 w 1600718"/>
              <a:gd name="connsiteY0" fmla="*/ 0 h 457200"/>
              <a:gd name="connsiteX1" fmla="*/ 1412253 w 1600718"/>
              <a:gd name="connsiteY1" fmla="*/ 457200 h 457200"/>
              <a:gd name="connsiteX2" fmla="*/ 0 w 1600718"/>
              <a:gd name="connsiteY2" fmla="*/ 457200 h 457200"/>
              <a:gd name="connsiteX3" fmla="*/ 202244 w 1600718"/>
              <a:gd name="connsiteY3" fmla="*/ 0 h 457200"/>
              <a:gd name="connsiteX0" fmla="*/ 1600718 w 1600718"/>
              <a:gd name="connsiteY0" fmla="*/ 0 h 457200"/>
              <a:gd name="connsiteX1" fmla="*/ 1412253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412253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412253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412253 w 1600718"/>
              <a:gd name="connsiteY1" fmla="*/ 457200 h 457200"/>
              <a:gd name="connsiteX2" fmla="*/ 0 w 1600718"/>
              <a:gd name="connsiteY2" fmla="*/ 457200 h 457200"/>
              <a:gd name="connsiteX3" fmla="*/ 0 w 1600718"/>
              <a:gd name="connsiteY3" fmla="*/ 0 h 457200"/>
              <a:gd name="connsiteX0" fmla="*/ 1600718 w 1600718"/>
              <a:gd name="connsiteY0" fmla="*/ 0 h 457200"/>
              <a:gd name="connsiteX1" fmla="*/ 1412253 w 1600718"/>
              <a:gd name="connsiteY1" fmla="*/ 457200 h 457200"/>
              <a:gd name="connsiteX2" fmla="*/ 0 w 1600718"/>
              <a:gd name="connsiteY2" fmla="*/ 457200 h 457200"/>
              <a:gd name="connsiteX3" fmla="*/ 188465 w 1600718"/>
              <a:gd name="connsiteY3" fmla="*/ 0 h 457200"/>
              <a:gd name="connsiteX0" fmla="*/ 1600718 w 1600718"/>
              <a:gd name="connsiteY0" fmla="*/ 0 h 457201"/>
              <a:gd name="connsiteX1" fmla="*/ 1412253 w 1600718"/>
              <a:gd name="connsiteY1" fmla="*/ 457201 h 457201"/>
              <a:gd name="connsiteX2" fmla="*/ 0 w 1600718"/>
              <a:gd name="connsiteY2" fmla="*/ 457201 h 457201"/>
              <a:gd name="connsiteX3" fmla="*/ 188465 w 1600718"/>
              <a:gd name="connsiteY3" fmla="*/ 1 h 457201"/>
              <a:gd name="connsiteX0" fmla="*/ 1600718 w 1600718"/>
              <a:gd name="connsiteY0" fmla="*/ 0 h 457202"/>
              <a:gd name="connsiteX1" fmla="*/ 1393123 w 1600718"/>
              <a:gd name="connsiteY1" fmla="*/ 457202 h 457202"/>
              <a:gd name="connsiteX2" fmla="*/ 0 w 1600718"/>
              <a:gd name="connsiteY2" fmla="*/ 457201 h 457202"/>
              <a:gd name="connsiteX3" fmla="*/ 188465 w 1600718"/>
              <a:gd name="connsiteY3" fmla="*/ 1 h 457202"/>
              <a:gd name="connsiteX0" fmla="*/ 1600718 w 1600718"/>
              <a:gd name="connsiteY0" fmla="*/ 0 h 457202"/>
              <a:gd name="connsiteX1" fmla="*/ 1393123 w 1600718"/>
              <a:gd name="connsiteY1" fmla="*/ 457202 h 457202"/>
              <a:gd name="connsiteX2" fmla="*/ 0 w 1600718"/>
              <a:gd name="connsiteY2" fmla="*/ 457201 h 457202"/>
              <a:gd name="connsiteX3" fmla="*/ 188465 w 1600718"/>
              <a:gd name="connsiteY3" fmla="*/ 1 h 457202"/>
              <a:gd name="connsiteX0" fmla="*/ 1600718 w 1600718"/>
              <a:gd name="connsiteY0" fmla="*/ 0 h 457202"/>
              <a:gd name="connsiteX1" fmla="*/ 1393123 w 1600718"/>
              <a:gd name="connsiteY1" fmla="*/ 457202 h 457202"/>
              <a:gd name="connsiteX2" fmla="*/ 0 w 1600718"/>
              <a:gd name="connsiteY2" fmla="*/ 457201 h 457202"/>
              <a:gd name="connsiteX3" fmla="*/ 207595 w 1600718"/>
              <a:gd name="connsiteY3" fmla="*/ 0 h 457202"/>
              <a:gd name="connsiteX0" fmla="*/ 1600718 w 1600718"/>
              <a:gd name="connsiteY0" fmla="*/ 0 h 457201"/>
              <a:gd name="connsiteX1" fmla="*/ 1401278 w 1600718"/>
              <a:gd name="connsiteY1" fmla="*/ 451873 h 457201"/>
              <a:gd name="connsiteX2" fmla="*/ 0 w 1600718"/>
              <a:gd name="connsiteY2" fmla="*/ 457201 h 457201"/>
              <a:gd name="connsiteX3" fmla="*/ 207595 w 1600718"/>
              <a:gd name="connsiteY3" fmla="*/ 0 h 457201"/>
              <a:gd name="connsiteX4" fmla="*/ 1600718 w 1600718"/>
              <a:gd name="connsiteY4" fmla="*/ 0 h 457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718" h="457201">
                <a:moveTo>
                  <a:pt x="1600718" y="0"/>
                </a:moveTo>
                <a:lnTo>
                  <a:pt x="1401278" y="451873"/>
                </a:lnTo>
                <a:lnTo>
                  <a:pt x="0" y="457201"/>
                </a:lnTo>
                <a:lnTo>
                  <a:pt x="207595" y="0"/>
                </a:lnTo>
                <a:lnTo>
                  <a:pt x="1600718" y="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rtlCol="0" anchor="ctr"/>
          <a:lstStyle/>
          <a:p>
            <a:pPr algn="ctr"/>
            <a:endParaRPr lang="en-US" sz="1600" b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6" name="TextBox 49">
            <a:extLst>
              <a:ext uri="{FF2B5EF4-FFF2-40B4-BE49-F238E27FC236}">
                <a16:creationId xmlns:a16="http://schemas.microsoft.com/office/drawing/2014/main" id="{23EF1595-4AD4-1384-D3BF-808C0E24221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811831" y="1884373"/>
            <a:ext cx="1408831" cy="326892"/>
          </a:xfrm>
          <a:prstGeom prst="rect">
            <a:avLst/>
          </a:prstGeom>
          <a:noFill/>
          <a:ln>
            <a:noFill/>
          </a:ln>
        </p:spPr>
        <p:txBody>
          <a:bodyPr vert="horz" lIns="0" tIns="45720" rIns="0" bIns="4572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buClr>
                <a:srgbClr val="FFFFFF"/>
              </a:buClr>
              <a:buNone/>
            </a:pPr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Plasma Polish</a:t>
            </a:r>
          </a:p>
        </p:txBody>
      </p:sp>
      <p:sp>
        <p:nvSpPr>
          <p:cNvPr id="229" name="TextBox 47">
            <a:extLst>
              <a:ext uri="{FF2B5EF4-FFF2-40B4-BE49-F238E27FC236}">
                <a16:creationId xmlns:a16="http://schemas.microsoft.com/office/drawing/2014/main" id="{E51360C6-2F8D-1293-C18B-00FB54DA4C5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951856" y="1439083"/>
            <a:ext cx="1215295" cy="326892"/>
          </a:xfrm>
          <a:prstGeom prst="rect">
            <a:avLst/>
          </a:prstGeom>
          <a:noFill/>
          <a:ln>
            <a:noFill/>
          </a:ln>
        </p:spPr>
        <p:txBody>
          <a:bodyPr vert="horz" lIns="27432" tIns="45720" rIns="91440" bIns="4572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buClr>
                <a:srgbClr val="FFFFFF"/>
              </a:buClr>
              <a:buNone/>
            </a:pPr>
            <a:r>
              <a:rPr lang="en-US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CMP</a:t>
            </a:r>
          </a:p>
        </p:txBody>
      </p:sp>
      <p:pic>
        <p:nvPicPr>
          <p:cNvPr id="250" name="Picture 7">
            <a:extLst>
              <a:ext uri="{FF2B5EF4-FFF2-40B4-BE49-F238E27FC236}">
                <a16:creationId xmlns:a16="http://schemas.microsoft.com/office/drawing/2014/main" id="{DD3A860B-15E9-B387-9494-C07385EB9BD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2" y="2752842"/>
            <a:ext cx="2910268" cy="2688864"/>
          </a:xfrm>
          <a:prstGeom prst="rect">
            <a:avLst/>
          </a:prstGeom>
          <a:ln w="3175">
            <a:noFill/>
          </a:ln>
        </p:spPr>
      </p:pic>
      <p:sp>
        <p:nvSpPr>
          <p:cNvPr id="251" name="TextBox 90">
            <a:extLst>
              <a:ext uri="{FF2B5EF4-FFF2-40B4-BE49-F238E27FC236}">
                <a16:creationId xmlns:a16="http://schemas.microsoft.com/office/drawing/2014/main" id="{EB94F758-4095-1D8A-AF23-ADC7401DF400}"/>
              </a:ext>
            </a:extLst>
          </p:cNvPr>
          <p:cNvSpPr txBox="1">
            <a:spLocks/>
          </p:cNvSpPr>
          <p:nvPr/>
        </p:nvSpPr>
        <p:spPr>
          <a:xfrm>
            <a:off x="437546" y="2354205"/>
            <a:ext cx="3511563" cy="32645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Oxford Instruments Plasma Polish as alternative to CMP process</a:t>
            </a:r>
          </a:p>
        </p:txBody>
      </p:sp>
      <p:sp>
        <p:nvSpPr>
          <p:cNvPr id="252" name="TextBox 91">
            <a:extLst>
              <a:ext uri="{FF2B5EF4-FFF2-40B4-BE49-F238E27FC236}">
                <a16:creationId xmlns:a16="http://schemas.microsoft.com/office/drawing/2014/main" id="{5AB0F9A9-356F-6989-0889-0FB569FC577D}"/>
              </a:ext>
            </a:extLst>
          </p:cNvPr>
          <p:cNvSpPr txBox="1">
            <a:spLocks/>
          </p:cNvSpPr>
          <p:nvPr/>
        </p:nvSpPr>
        <p:spPr>
          <a:xfrm>
            <a:off x="437547" y="5513892"/>
            <a:ext cx="3688684" cy="38779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buNone/>
            </a:pPr>
            <a:r>
              <a:rPr lang="en-US" sz="1400" dirty="0" err="1">
                <a:latin typeface="Century Gothic" panose="020B0502020202020204" pitchFamily="34" charset="0"/>
                <a:cs typeface="Arial"/>
              </a:rPr>
              <a:t>PlasmaPro</a:t>
            </a:r>
            <a:r>
              <a:rPr lang="en-US" sz="1400" dirty="0">
                <a:latin typeface="Century Gothic" panose="020B0502020202020204" pitchFamily="34" charset="0"/>
                <a:cs typeface="Arial"/>
              </a:rPr>
              <a:t> 100 Cobra single </a:t>
            </a:r>
            <a:br>
              <a:rPr lang="en-US" sz="1400" dirty="0">
                <a:latin typeface="Century Gothic" panose="020B0502020202020204" pitchFamily="34" charset="0"/>
                <a:cs typeface="Arial"/>
              </a:rPr>
            </a:br>
            <a:r>
              <a:rPr lang="en-US" sz="1400" dirty="0">
                <a:latin typeface="Century Gothic" panose="020B0502020202020204" pitchFamily="34" charset="0"/>
                <a:cs typeface="Arial"/>
              </a:rPr>
              <a:t>wafer etch system </a:t>
            </a:r>
            <a:endParaRPr lang="en-US" sz="1400" dirty="0">
              <a:latin typeface="Century Gothic" panose="020B0502020202020204" pitchFamily="34" charset="0"/>
            </a:endParaRPr>
          </a:p>
        </p:txBody>
      </p:sp>
      <p:cxnSp>
        <p:nvCxnSpPr>
          <p:cNvPr id="253" name="Gerader Verbinder 252">
            <a:extLst>
              <a:ext uri="{FF2B5EF4-FFF2-40B4-BE49-F238E27FC236}">
                <a16:creationId xmlns:a16="http://schemas.microsoft.com/office/drawing/2014/main" id="{FA6AE98B-7CF5-73FE-0E56-FC6B067B0F52}"/>
              </a:ext>
            </a:extLst>
          </p:cNvPr>
          <p:cNvCxnSpPr>
            <a:cxnSpLocks/>
          </p:cNvCxnSpPr>
          <p:nvPr/>
        </p:nvCxnSpPr>
        <p:spPr>
          <a:xfrm>
            <a:off x="4273898" y="2409404"/>
            <a:ext cx="0" cy="355891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extBox 107">
            <a:extLst>
              <a:ext uri="{FF2B5EF4-FFF2-40B4-BE49-F238E27FC236}">
                <a16:creationId xmlns:a16="http://schemas.microsoft.com/office/drawing/2014/main" id="{A88E2F6A-E509-5741-2AD7-EF2A1DE50396}"/>
              </a:ext>
            </a:extLst>
          </p:cNvPr>
          <p:cNvSpPr txBox="1">
            <a:spLocks/>
          </p:cNvSpPr>
          <p:nvPr/>
        </p:nvSpPr>
        <p:spPr>
          <a:xfrm>
            <a:off x="5268049" y="2475000"/>
            <a:ext cx="3256521" cy="64960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Clr>
                <a:srgbClr val="000000"/>
              </a:buClr>
              <a:buNone/>
            </a:pPr>
            <a:r>
              <a:rPr lang="en-US" b="1">
                <a:latin typeface="Century Gothic" panose="020B0502020202020204" pitchFamily="34" charset="0"/>
              </a:rPr>
              <a:t>Reduction of operating costs </a:t>
            </a:r>
            <a:br>
              <a:rPr lang="en-US" b="1">
                <a:latin typeface="Century Gothic" panose="020B0502020202020204" pitchFamily="34" charset="0"/>
              </a:rPr>
            </a:br>
            <a:r>
              <a:rPr lang="en-US">
                <a:latin typeface="Century Gothic" panose="020B0502020202020204" pitchFamily="34" charset="0"/>
              </a:rPr>
              <a:t>by USD 27/wafer</a:t>
            </a:r>
          </a:p>
        </p:txBody>
      </p:sp>
      <p:pic>
        <p:nvPicPr>
          <p:cNvPr id="32" name="Graphic 92">
            <a:extLst>
              <a:ext uri="{FF2B5EF4-FFF2-40B4-BE49-F238E27FC236}">
                <a16:creationId xmlns:a16="http://schemas.microsoft.com/office/drawing/2014/main" id="{887BC92D-687B-9550-4E47-DE0B6AD1928C}"/>
              </a:ext>
            </a:extLst>
          </p:cNvPr>
          <p:cNvPicPr>
            <a:picLocks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516245" y="2475000"/>
            <a:ext cx="649604" cy="649604"/>
          </a:xfrm>
          <a:prstGeom prst="rect">
            <a:avLst/>
          </a:prstGeom>
        </p:spPr>
      </p:pic>
      <p:sp>
        <p:nvSpPr>
          <p:cNvPr id="35" name="TextBox 111">
            <a:extLst>
              <a:ext uri="{FF2B5EF4-FFF2-40B4-BE49-F238E27FC236}">
                <a16:creationId xmlns:a16="http://schemas.microsoft.com/office/drawing/2014/main" id="{D37783B2-F250-0457-ADD3-59713DCB9108}"/>
              </a:ext>
            </a:extLst>
          </p:cNvPr>
          <p:cNvSpPr txBox="1">
            <a:spLocks/>
          </p:cNvSpPr>
          <p:nvPr/>
        </p:nvSpPr>
        <p:spPr>
          <a:xfrm>
            <a:off x="5268049" y="4310641"/>
            <a:ext cx="3256521" cy="64960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Clr>
                <a:srgbClr val="000000"/>
              </a:buClr>
              <a:buNone/>
            </a:pPr>
            <a:r>
              <a:rPr lang="en-US" b="1">
                <a:latin typeface="Century Gothic" panose="020B0502020202020204" pitchFamily="34" charset="0"/>
              </a:rPr>
              <a:t>Enabler for thinner wafer slicing </a:t>
            </a:r>
            <a:r>
              <a:rPr lang="en-US">
                <a:latin typeface="Century Gothic" panose="020B0502020202020204" pitchFamily="34" charset="0"/>
              </a:rPr>
              <a:t>to increase absolute numbers of wafer/boule and reduce costs</a:t>
            </a:r>
          </a:p>
        </p:txBody>
      </p:sp>
      <p:pic>
        <p:nvPicPr>
          <p:cNvPr id="36" name="Graphic 128">
            <a:extLst>
              <a:ext uri="{FF2B5EF4-FFF2-40B4-BE49-F238E27FC236}">
                <a16:creationId xmlns:a16="http://schemas.microsoft.com/office/drawing/2014/main" id="{B0FDD21A-7C10-E9BE-72FA-15608E11027B}"/>
              </a:ext>
            </a:extLst>
          </p:cNvPr>
          <p:cNvPicPr>
            <a:picLocks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11058" t="11058" r="11058" b="11058"/>
          <a:stretch/>
        </p:blipFill>
        <p:spPr>
          <a:xfrm>
            <a:off x="4516245" y="4310641"/>
            <a:ext cx="649604" cy="649604"/>
          </a:xfrm>
          <a:prstGeom prst="rect">
            <a:avLst/>
          </a:prstGeom>
        </p:spPr>
      </p:pic>
      <p:sp>
        <p:nvSpPr>
          <p:cNvPr id="37" name="TextBox 98">
            <a:extLst>
              <a:ext uri="{FF2B5EF4-FFF2-40B4-BE49-F238E27FC236}">
                <a16:creationId xmlns:a16="http://schemas.microsoft.com/office/drawing/2014/main" id="{65C979A1-4EEC-9287-2D0A-8AFD9B5B7B4E}"/>
              </a:ext>
            </a:extLst>
          </p:cNvPr>
          <p:cNvSpPr txBox="1">
            <a:spLocks/>
          </p:cNvSpPr>
          <p:nvPr/>
        </p:nvSpPr>
        <p:spPr>
          <a:xfrm>
            <a:off x="5268049" y="3286730"/>
            <a:ext cx="325652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Clr>
                <a:srgbClr val="000000"/>
              </a:buClr>
              <a:buNone/>
            </a:pPr>
            <a:r>
              <a:rPr lang="en-US" b="1" dirty="0">
                <a:latin typeface="Century Gothic" panose="020B0502020202020204" pitchFamily="34" charset="0"/>
              </a:rPr>
              <a:t>High process and results stability </a:t>
            </a:r>
            <a:r>
              <a:rPr lang="en-US" dirty="0">
                <a:latin typeface="Century Gothic" panose="020B0502020202020204" pitchFamily="34" charset="0"/>
              </a:rPr>
              <a:t>through replacement of mecha-</a:t>
            </a:r>
            <a:r>
              <a:rPr lang="en-US" dirty="0" err="1">
                <a:latin typeface="Century Gothic" panose="020B0502020202020204" pitchFamily="34" charset="0"/>
              </a:rPr>
              <a:t>nical</a:t>
            </a:r>
            <a:r>
              <a:rPr lang="en-US" dirty="0">
                <a:latin typeface="Century Gothic" panose="020B0502020202020204" pitchFamily="34" charset="0"/>
              </a:rPr>
              <a:t> processing</a:t>
            </a:r>
          </a:p>
        </p:txBody>
      </p:sp>
      <p:pic>
        <p:nvPicPr>
          <p:cNvPr id="39" name="Graphic 129">
            <a:extLst>
              <a:ext uri="{FF2B5EF4-FFF2-40B4-BE49-F238E27FC236}">
                <a16:creationId xmlns:a16="http://schemas.microsoft.com/office/drawing/2014/main" id="{C0F2B8D2-64E5-F50A-5CB9-A84A518BDBC9}"/>
              </a:ext>
            </a:extLst>
          </p:cNvPr>
          <p:cNvPicPr>
            <a:picLocks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4516245" y="3294326"/>
            <a:ext cx="649604" cy="649604"/>
          </a:xfrm>
          <a:prstGeom prst="rect">
            <a:avLst/>
          </a:prstGeom>
        </p:spPr>
      </p:pic>
      <p:sp>
        <p:nvSpPr>
          <p:cNvPr id="42" name="TextBox 115">
            <a:extLst>
              <a:ext uri="{FF2B5EF4-FFF2-40B4-BE49-F238E27FC236}">
                <a16:creationId xmlns:a16="http://schemas.microsoft.com/office/drawing/2014/main" id="{6B85A871-0CB0-F383-8C0A-9B99E70BE678}"/>
              </a:ext>
            </a:extLst>
          </p:cNvPr>
          <p:cNvSpPr txBox="1">
            <a:spLocks/>
          </p:cNvSpPr>
          <p:nvPr/>
        </p:nvSpPr>
        <p:spPr>
          <a:xfrm>
            <a:off x="5268049" y="5172075"/>
            <a:ext cx="3256521" cy="64960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Clr>
                <a:srgbClr val="000000"/>
              </a:buClr>
              <a:buNone/>
            </a:pPr>
            <a:r>
              <a:rPr lang="en-US" b="1" dirty="0">
                <a:latin typeface="Century Gothic" panose="020B0502020202020204" pitchFamily="34" charset="0"/>
              </a:rPr>
              <a:t>Minimization of the utilization of toxic materials</a:t>
            </a:r>
          </a:p>
        </p:txBody>
      </p:sp>
      <p:pic>
        <p:nvPicPr>
          <p:cNvPr id="43" name="Graphic 131">
            <a:extLst>
              <a:ext uri="{FF2B5EF4-FFF2-40B4-BE49-F238E27FC236}">
                <a16:creationId xmlns:a16="http://schemas.microsoft.com/office/drawing/2014/main" id="{0BB1B1B8-8FC7-4504-B1B0-CE92DD9909A1}"/>
              </a:ext>
            </a:extLst>
          </p:cNvPr>
          <p:cNvPicPr>
            <a:picLocks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rcRect/>
          <a:stretch/>
        </p:blipFill>
        <p:spPr>
          <a:xfrm>
            <a:off x="4516245" y="5172075"/>
            <a:ext cx="649604" cy="649604"/>
          </a:xfrm>
          <a:prstGeom prst="rect">
            <a:avLst/>
          </a:prstGeom>
        </p:spPr>
      </p:pic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87D15270-E9CF-363B-5D45-005BF4CF6CDE}"/>
              </a:ext>
            </a:extLst>
          </p:cNvPr>
          <p:cNvSpPr txBox="1">
            <a:spLocks/>
          </p:cNvSpPr>
          <p:nvPr/>
        </p:nvSpPr>
        <p:spPr>
          <a:xfrm>
            <a:off x="10199802" y="6458902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14</a:t>
            </a:fld>
            <a:endParaRPr lang="en-GB" sz="1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6354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684842D-4AF3-4900-F42C-4039582BD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73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8" imgH="329" progId="TCLayout.ActiveDocument.1">
                  <p:embed/>
                </p:oleObj>
              </mc:Choice>
              <mc:Fallback>
                <p:oleObj name="think-cell Folie" r:id="rId3" imgW="328" imgH="32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84842D-4AF3-4900-F42C-4039582BD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FD2D05-0A03-1EFA-7793-5174BAF7AD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7645" y="2865791"/>
            <a:ext cx="11493726" cy="1655762"/>
          </a:xfrm>
        </p:spPr>
        <p:txBody>
          <a:bodyPr vert="horz"/>
          <a:lstStyle/>
          <a:p>
            <a:r>
              <a:rPr lang="en-US" dirty="0">
                <a:latin typeface="Century Gothic" panose="020B0502020202020204" pitchFamily="34" charset="0"/>
              </a:rPr>
              <a:t>Program Update and Conclusions</a:t>
            </a:r>
            <a:endParaRPr lang="en-GB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59208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3027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9" imgH="330" progId="TCLayout.ActiveDocument.1">
                  <p:embed/>
                </p:oleObj>
              </mc:Choice>
              <mc:Fallback>
                <p:oleObj name="think-cell Folie" r:id="rId3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400" y="127001"/>
            <a:ext cx="9579599" cy="753532"/>
          </a:xfrm>
        </p:spPr>
        <p:txBody>
          <a:bodyPr vert="horz"/>
          <a:lstStyle/>
          <a:p>
            <a:r>
              <a:rPr lang="en-GB" sz="3200" dirty="0"/>
              <a:t>Program Update</a:t>
            </a:r>
            <a:endParaRPr lang="en-US" dirty="0"/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id="{C59D2CE7-BCDB-62A8-543D-E96DD7C74979}"/>
              </a:ext>
            </a:extLst>
          </p:cNvPr>
          <p:cNvGrpSpPr/>
          <p:nvPr/>
        </p:nvGrpSpPr>
        <p:grpSpPr>
          <a:xfrm>
            <a:off x="326401" y="1591353"/>
            <a:ext cx="11479776" cy="1068913"/>
            <a:chOff x="2063552" y="1152271"/>
            <a:chExt cx="6703456" cy="764561"/>
          </a:xfrm>
        </p:grpSpPr>
        <p:sp>
          <p:nvSpPr>
            <p:cNvPr id="3" name="Arrow: Chevron 10">
              <a:extLst>
                <a:ext uri="{FF2B5EF4-FFF2-40B4-BE49-F238E27FC236}">
                  <a16:creationId xmlns:a16="http://schemas.microsoft.com/office/drawing/2014/main" id="{D3332FD4-1B9A-0F7B-39FE-1C66C010512E}"/>
                </a:ext>
              </a:extLst>
            </p:cNvPr>
            <p:cNvSpPr/>
            <p:nvPr/>
          </p:nvSpPr>
          <p:spPr bwMode="auto">
            <a:xfrm>
              <a:off x="4299156" y="1163300"/>
              <a:ext cx="2232248" cy="753532"/>
            </a:xfrm>
            <a:prstGeom prst="chevron">
              <a:avLst>
                <a:gd name="adj" fmla="val 25333"/>
              </a:avLst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Market Launch </a:t>
              </a:r>
              <a:br>
                <a:rPr lang="en-GB" sz="2000" b="1" kern="1200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en-GB" sz="2000" b="1" kern="12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(ICSCRM 2022)</a:t>
              </a:r>
            </a:p>
          </p:txBody>
        </p:sp>
        <p:sp>
          <p:nvSpPr>
            <p:cNvPr id="4" name="Arrow: Chevron 11">
              <a:extLst>
                <a:ext uri="{FF2B5EF4-FFF2-40B4-BE49-F238E27FC236}">
                  <a16:creationId xmlns:a16="http://schemas.microsoft.com/office/drawing/2014/main" id="{D145370F-7EA5-89BD-5F91-A5ABBB73D3BD}"/>
                </a:ext>
              </a:extLst>
            </p:cNvPr>
            <p:cNvSpPr/>
            <p:nvPr/>
          </p:nvSpPr>
          <p:spPr bwMode="auto">
            <a:xfrm>
              <a:off x="2063552" y="1157786"/>
              <a:ext cx="2232248" cy="753530"/>
            </a:xfrm>
            <a:prstGeom prst="chevron">
              <a:avLst>
                <a:gd name="adj" fmla="val 25333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Program Inception </a:t>
              </a:r>
              <a:br>
                <a:rPr lang="en-GB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en-GB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(2020) </a:t>
              </a:r>
              <a:endParaRPr lang="en-GB" sz="2000" b="1" kern="12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" name="Arrow: Chevron 12">
              <a:extLst>
                <a:ext uri="{FF2B5EF4-FFF2-40B4-BE49-F238E27FC236}">
                  <a16:creationId xmlns:a16="http://schemas.microsoft.com/office/drawing/2014/main" id="{74AC37A7-7CA4-32A3-92E5-DDF83FE195FD}"/>
                </a:ext>
              </a:extLst>
            </p:cNvPr>
            <p:cNvSpPr/>
            <p:nvPr/>
          </p:nvSpPr>
          <p:spPr bwMode="auto">
            <a:xfrm>
              <a:off x="6534760" y="1152271"/>
              <a:ext cx="2232248" cy="753532"/>
            </a:xfrm>
            <a:prstGeom prst="chevron">
              <a:avLst>
                <a:gd name="adj" fmla="val 25333"/>
              </a:avLst>
            </a:prstGeom>
            <a:solidFill>
              <a:schemeClr val="accent6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Current Status</a:t>
              </a:r>
            </a:p>
          </p:txBody>
        </p:sp>
      </p:grpSp>
      <p:sp>
        <p:nvSpPr>
          <p:cNvPr id="11" name="Subtitle 2">
            <a:extLst>
              <a:ext uri="{FF2B5EF4-FFF2-40B4-BE49-F238E27FC236}">
                <a16:creationId xmlns:a16="http://schemas.microsoft.com/office/drawing/2014/main" id="{A79CB396-3659-E8A5-5ADF-87B9EE7AEAFE}"/>
              </a:ext>
            </a:extLst>
          </p:cNvPr>
          <p:cNvSpPr txBox="1">
            <a:spLocks/>
          </p:cNvSpPr>
          <p:nvPr/>
        </p:nvSpPr>
        <p:spPr>
          <a:xfrm>
            <a:off x="314244" y="5154821"/>
            <a:ext cx="5299480" cy="105349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Oxford Raleway" pitchFamily="2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Substrates from 5 </a:t>
            </a:r>
            <a:r>
              <a:rPr lang="en-GB" sz="16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SiC</a:t>
            </a:r>
            <a:r>
              <a:rPr lang="en-GB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 customers/ partners.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Over 150 stable full wafer process runs.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Demonstrated Tool-to-Tool process transfer. </a:t>
            </a:r>
            <a:endParaRPr lang="de-DE" sz="16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C81C786E-6790-2B10-11CB-611E82A76281}"/>
              </a:ext>
            </a:extLst>
          </p:cNvPr>
          <p:cNvSpPr txBox="1">
            <a:spLocks/>
          </p:cNvSpPr>
          <p:nvPr/>
        </p:nvSpPr>
        <p:spPr>
          <a:xfrm>
            <a:off x="6819797" y="5154821"/>
            <a:ext cx="4966059" cy="105349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Oxford Raleway" pitchFamily="2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Over 20 Additional active customer engagements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Exploratory joint programs to expand use-cases </a:t>
            </a:r>
            <a:endParaRPr lang="de-DE" sz="16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558BA26-3855-BBEC-3E34-D17A64D1BA93}"/>
              </a:ext>
            </a:extLst>
          </p:cNvPr>
          <p:cNvSpPr/>
          <p:nvPr/>
        </p:nvSpPr>
        <p:spPr>
          <a:xfrm>
            <a:off x="346721" y="2905887"/>
            <a:ext cx="4966059" cy="2198548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AB8BA62-86A6-97D2-47BE-319D92354A51}"/>
              </a:ext>
            </a:extLst>
          </p:cNvPr>
          <p:cNvSpPr/>
          <p:nvPr/>
        </p:nvSpPr>
        <p:spPr>
          <a:xfrm>
            <a:off x="6840118" y="2905887"/>
            <a:ext cx="4966059" cy="2198548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22" name="Arrow: Right 46">
            <a:extLst>
              <a:ext uri="{FF2B5EF4-FFF2-40B4-BE49-F238E27FC236}">
                <a16:creationId xmlns:a16="http://schemas.microsoft.com/office/drawing/2014/main" id="{CFE5FF2F-C9EA-A834-D13E-45D676CF9BB0}"/>
              </a:ext>
            </a:extLst>
          </p:cNvPr>
          <p:cNvSpPr/>
          <p:nvPr/>
        </p:nvSpPr>
        <p:spPr>
          <a:xfrm>
            <a:off x="5390649" y="3186011"/>
            <a:ext cx="1371600" cy="1638300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>
                <a:solidFill>
                  <a:schemeClr val="tx1"/>
                </a:solidFill>
                <a:latin typeface="Century Gothic" panose="020B0502020202020204" pitchFamily="34" charset="0"/>
              </a:rPr>
              <a:t>Post Launch</a:t>
            </a:r>
            <a:endParaRPr lang="de-DE" b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extBox 49">
            <a:extLst>
              <a:ext uri="{FF2B5EF4-FFF2-40B4-BE49-F238E27FC236}">
                <a16:creationId xmlns:a16="http://schemas.microsoft.com/office/drawing/2014/main" id="{D50F6DB0-75C1-32C6-BCE4-1ADC9EB67969}"/>
              </a:ext>
            </a:extLst>
          </p:cNvPr>
          <p:cNvSpPr txBox="1"/>
          <p:nvPr/>
        </p:nvSpPr>
        <p:spPr>
          <a:xfrm>
            <a:off x="6884469" y="3692883"/>
            <a:ext cx="22132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>
                <a:latin typeface="Century Gothic" panose="020B0502020202020204" pitchFamily="34" charset="0"/>
                <a:sym typeface="+mn-lt"/>
              </a:rPr>
              <a:t>Post Market Launch Engagements</a:t>
            </a:r>
          </a:p>
        </p:txBody>
      </p:sp>
      <p:graphicFrame>
        <p:nvGraphicFramePr>
          <p:cNvPr id="24" name="Diagram 47">
            <a:extLst>
              <a:ext uri="{FF2B5EF4-FFF2-40B4-BE49-F238E27FC236}">
                <a16:creationId xmlns:a16="http://schemas.microsoft.com/office/drawing/2014/main" id="{EEEAB00E-36BE-EACA-1ECD-0E72F719D2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8891479"/>
              </p:ext>
            </p:extLst>
          </p:nvPr>
        </p:nvGraphicFramePr>
        <p:xfrm>
          <a:off x="8625852" y="2780340"/>
          <a:ext cx="3384388" cy="24098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25" name="Picture 43">
            <a:extLst>
              <a:ext uri="{FF2B5EF4-FFF2-40B4-BE49-F238E27FC236}">
                <a16:creationId xmlns:a16="http://schemas.microsoft.com/office/drawing/2014/main" id="{BCE86AA2-42BF-3130-428D-24E693701DE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051" t="3922" r="3409" b="2829"/>
          <a:stretch/>
        </p:blipFill>
        <p:spPr>
          <a:xfrm>
            <a:off x="1000520" y="2965830"/>
            <a:ext cx="3867109" cy="2078662"/>
          </a:xfrm>
          <a:prstGeom prst="rect">
            <a:avLst/>
          </a:prstGeom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856FDAD4-7952-E630-3E44-6597275966F0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16</a:t>
            </a:fld>
            <a:endParaRPr lang="en-GB" sz="1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0339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224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9" imgH="330" progId="TCLayout.ActiveDocument.1">
                  <p:embed/>
                </p:oleObj>
              </mc:Choice>
              <mc:Fallback>
                <p:oleObj name="think-cell Folie" r:id="rId3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400" y="127001"/>
            <a:ext cx="9579599" cy="753532"/>
          </a:xfrm>
        </p:spPr>
        <p:txBody>
          <a:bodyPr vert="horz"/>
          <a:lstStyle/>
          <a:p>
            <a:r>
              <a:rPr lang="en-GB" sz="3200" dirty="0"/>
              <a:t>Conclusions</a:t>
            </a:r>
            <a:endParaRPr lang="en-US" dirty="0"/>
          </a:p>
        </p:txBody>
      </p:sp>
      <p:sp>
        <p:nvSpPr>
          <p:cNvPr id="6" name="TextBox 41">
            <a:extLst>
              <a:ext uri="{FF2B5EF4-FFF2-40B4-BE49-F238E27FC236}">
                <a16:creationId xmlns:a16="http://schemas.microsoft.com/office/drawing/2014/main" id="{9428F332-0AB2-2DFF-8F30-3CC10CE951AE}"/>
              </a:ext>
            </a:extLst>
          </p:cNvPr>
          <p:cNvSpPr txBox="1"/>
          <p:nvPr/>
        </p:nvSpPr>
        <p:spPr>
          <a:xfrm>
            <a:off x="326401" y="1345274"/>
            <a:ext cx="3898358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en-GB" sz="2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Oxford Instruments is the recognized partner for Plasma Technology for CS Industry</a:t>
            </a:r>
          </a:p>
        </p:txBody>
      </p:sp>
      <p:sp>
        <p:nvSpPr>
          <p:cNvPr id="7" name="TextBox 41">
            <a:extLst>
              <a:ext uri="{FF2B5EF4-FFF2-40B4-BE49-F238E27FC236}">
                <a16:creationId xmlns:a16="http://schemas.microsoft.com/office/drawing/2014/main" id="{2F37C75F-4B7F-B554-4F97-501D7D404D3A}"/>
              </a:ext>
            </a:extLst>
          </p:cNvPr>
          <p:cNvSpPr txBox="1"/>
          <p:nvPr/>
        </p:nvSpPr>
        <p:spPr>
          <a:xfrm>
            <a:off x="4328932" y="1345274"/>
            <a:ext cx="7536668" cy="214674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67970" lvl="1" indent="-26797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  <a:latin typeface="Century Gothic" panose="020B0502020202020204" pitchFamily="34" charset="0"/>
              </a:rPr>
              <a:t>Trusted partner in </a:t>
            </a:r>
            <a:r>
              <a:rPr lang="en-GB" dirty="0" err="1">
                <a:solidFill>
                  <a:schemeClr val="tx2"/>
                </a:solidFill>
                <a:latin typeface="Century Gothic" panose="020B0502020202020204" pitchFamily="34" charset="0"/>
              </a:rPr>
              <a:t>RnD</a:t>
            </a:r>
            <a:r>
              <a:rPr lang="en-GB" dirty="0">
                <a:solidFill>
                  <a:schemeClr val="tx2"/>
                </a:solidFill>
                <a:latin typeface="Century Gothic" panose="020B0502020202020204" pitchFamily="34" charset="0"/>
              </a:rPr>
              <a:t> and High-Volume Manufacturing.  </a:t>
            </a:r>
          </a:p>
          <a:p>
            <a:pPr marL="267970" lvl="1" indent="-26797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  <a:latin typeface="Century Gothic" panose="020B0502020202020204" pitchFamily="34" charset="0"/>
              </a:rPr>
              <a:t>Established production platform supporting key processes in CS Market. </a:t>
            </a:r>
          </a:p>
          <a:p>
            <a:pPr marL="267970" lvl="1" indent="-26797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  <a:latin typeface="Century Gothic" panose="020B0502020202020204" pitchFamily="34" charset="0"/>
              </a:rPr>
              <a:t>Continuously investing in new process technology for power Applications. </a:t>
            </a:r>
          </a:p>
          <a:p>
            <a:pPr marL="725170" lvl="2" indent="-267970"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2"/>
                </a:solidFill>
                <a:latin typeface="Century Gothic" panose="020B0502020202020204" pitchFamily="34" charset="0"/>
              </a:rPr>
              <a:t>Active programs in </a:t>
            </a:r>
            <a:r>
              <a:rPr lang="en-GB" dirty="0" err="1">
                <a:solidFill>
                  <a:schemeClr val="bg2"/>
                </a:solidFill>
                <a:latin typeface="Century Gothic" panose="020B0502020202020204" pitchFamily="34" charset="0"/>
              </a:rPr>
              <a:t>SiC</a:t>
            </a:r>
            <a:r>
              <a:rPr lang="en-GB" dirty="0">
                <a:solidFill>
                  <a:schemeClr val="bg2"/>
                </a:solidFill>
                <a:latin typeface="Century Gothic" panose="020B0502020202020204" pitchFamily="34" charset="0"/>
              </a:rPr>
              <a:t> as well as </a:t>
            </a:r>
            <a:r>
              <a:rPr lang="en-GB" dirty="0" err="1">
                <a:solidFill>
                  <a:schemeClr val="bg2"/>
                </a:solidFill>
                <a:latin typeface="Century Gothic" panose="020B0502020202020204" pitchFamily="34" charset="0"/>
              </a:rPr>
              <a:t>GaN</a:t>
            </a:r>
            <a:r>
              <a:rPr lang="en-GB" dirty="0">
                <a:solidFill>
                  <a:schemeClr val="bg2"/>
                </a:solidFill>
                <a:latin typeface="Century Gothic" panose="020B0502020202020204" pitchFamily="34" charset="0"/>
              </a:rPr>
              <a:t> to support Power Semiconductors. 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F90CD83-A2BD-407F-FAB8-05A60D8ED411}"/>
              </a:ext>
            </a:extLst>
          </p:cNvPr>
          <p:cNvCxnSpPr>
            <a:cxnSpLocks/>
          </p:cNvCxnSpPr>
          <p:nvPr/>
        </p:nvCxnSpPr>
        <p:spPr>
          <a:xfrm>
            <a:off x="451413" y="3583930"/>
            <a:ext cx="11169569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41">
            <a:extLst>
              <a:ext uri="{FF2B5EF4-FFF2-40B4-BE49-F238E27FC236}">
                <a16:creationId xmlns:a16="http://schemas.microsoft.com/office/drawing/2014/main" id="{2CC4862B-2E75-BC45-2FCF-C45ADB641E17}"/>
              </a:ext>
            </a:extLst>
          </p:cNvPr>
          <p:cNvSpPr txBox="1"/>
          <p:nvPr/>
        </p:nvSpPr>
        <p:spPr>
          <a:xfrm>
            <a:off x="326401" y="3767966"/>
            <a:ext cx="3898358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en-GB" sz="2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Plasma Polish: A powerful polishing solution for </a:t>
            </a:r>
            <a:r>
              <a:rPr lang="en-GB" sz="2000" b="1" dirty="0" err="1">
                <a:solidFill>
                  <a:schemeClr val="accent1"/>
                </a:solidFill>
                <a:latin typeface="Century Gothic" panose="020B0502020202020204" pitchFamily="34" charset="0"/>
              </a:rPr>
              <a:t>SiC</a:t>
            </a:r>
            <a:r>
              <a:rPr lang="en-GB" sz="2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 substrate manufacturing</a:t>
            </a:r>
          </a:p>
        </p:txBody>
      </p:sp>
      <p:sp>
        <p:nvSpPr>
          <p:cNvPr id="17" name="TextBox 41">
            <a:extLst>
              <a:ext uri="{FF2B5EF4-FFF2-40B4-BE49-F238E27FC236}">
                <a16:creationId xmlns:a16="http://schemas.microsoft.com/office/drawing/2014/main" id="{4E6FEC32-2A10-A146-BF8C-2DE612636AC9}"/>
              </a:ext>
            </a:extLst>
          </p:cNvPr>
          <p:cNvSpPr txBox="1"/>
          <p:nvPr/>
        </p:nvSpPr>
        <p:spPr>
          <a:xfrm>
            <a:off x="4328932" y="3767966"/>
            <a:ext cx="7536668" cy="246221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67970" lvl="1" indent="-26797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  <a:latin typeface="Century Gothic" panose="020B0502020202020204" pitchFamily="34" charset="0"/>
              </a:rPr>
              <a:t>Validated using industry standard MOSFET and MPD devices. </a:t>
            </a:r>
            <a:endParaRPr lang="en-GB" baseline="-2500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267970" lvl="1" indent="-26797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  <a:latin typeface="Century Gothic" panose="020B0502020202020204" pitchFamily="34" charset="0"/>
              </a:rPr>
              <a:t>Significantly Lower Cost compared to current polishing solutions. </a:t>
            </a:r>
          </a:p>
          <a:p>
            <a:pPr marL="267970" lvl="1" indent="-26797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  <a:latin typeface="Century Gothic" panose="020B0502020202020204" pitchFamily="34" charset="0"/>
              </a:rPr>
              <a:t>Offering high stability and process capability (proven independent of substrates vendors).  </a:t>
            </a:r>
          </a:p>
          <a:p>
            <a:pPr marL="267970" lvl="1" indent="-26797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  <a:latin typeface="Century Gothic" panose="020B0502020202020204" pitchFamily="34" charset="0"/>
              </a:rPr>
              <a:t>Environmentally friendly process, with significantly higher ease of use. </a:t>
            </a:r>
          </a:p>
          <a:p>
            <a:pPr marL="267970" indent="-26797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2"/>
                </a:solidFill>
                <a:latin typeface="Century Gothic" panose="020B0502020202020204" pitchFamily="34" charset="0"/>
              </a:rPr>
              <a:t>Expanding program:  </a:t>
            </a:r>
            <a:r>
              <a:rPr lang="en-GB" dirty="0">
                <a:solidFill>
                  <a:schemeClr val="tx2"/>
                </a:solidFill>
                <a:latin typeface="Century Gothic" panose="020B0502020202020204" pitchFamily="34" charset="0"/>
              </a:rPr>
              <a:t>Active engagement with key </a:t>
            </a:r>
            <a:r>
              <a:rPr lang="en-GB" dirty="0" err="1">
                <a:solidFill>
                  <a:schemeClr val="tx2"/>
                </a:solidFill>
                <a:latin typeface="Century Gothic" panose="020B0502020202020204" pitchFamily="34" charset="0"/>
              </a:rPr>
              <a:t>SiC</a:t>
            </a:r>
            <a:r>
              <a:rPr lang="en-GB" dirty="0">
                <a:solidFill>
                  <a:schemeClr val="tx2"/>
                </a:solidFill>
                <a:latin typeface="Century Gothic" panose="020B0502020202020204" pitchFamily="34" charset="0"/>
              </a:rPr>
              <a:t> PE customers.  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36B8EDA9-2E62-3DA1-6CE8-79A22674BB24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17</a:t>
            </a:fld>
            <a:endParaRPr lang="en-GB" sz="1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914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907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9" imgH="330" progId="TCLayout.ActiveDocument.1">
                  <p:embed/>
                </p:oleObj>
              </mc:Choice>
              <mc:Fallback>
                <p:oleObj name="think-cell Folie" r:id="rId3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tline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3C26C7B-2D8E-3C71-3EF2-ECBEA5079FC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39898" y="1255359"/>
            <a:ext cx="4525701" cy="488314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CB3FD710-B145-6A12-60C4-42099DB2E8A1}"/>
              </a:ext>
            </a:extLst>
          </p:cNvPr>
          <p:cNvGrpSpPr>
            <a:grpSpLocks noChangeAspect="1"/>
          </p:cNvGrpSpPr>
          <p:nvPr/>
        </p:nvGrpSpPr>
        <p:grpSpPr>
          <a:xfrm>
            <a:off x="155875" y="1255359"/>
            <a:ext cx="6921574" cy="485484"/>
            <a:chOff x="189209" y="3857907"/>
            <a:chExt cx="6921574" cy="485484"/>
          </a:xfrm>
        </p:grpSpPr>
        <p:sp>
          <p:nvSpPr>
            <p:cNvPr id="4" name="Rechteck 6">
              <a:extLst>
                <a:ext uri="{FF2B5EF4-FFF2-40B4-BE49-F238E27FC236}">
                  <a16:creationId xmlns:a16="http://schemas.microsoft.com/office/drawing/2014/main" id="{CD47C8D1-A208-1935-33F7-BEFAD904A4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4990" y="3857907"/>
              <a:ext cx="6725793" cy="485484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3525">
                <a:defRPr/>
              </a:pPr>
              <a:r>
                <a:rPr lang="en-US" sz="2000" b="1">
                  <a:solidFill>
                    <a:srgbClr val="FFFFFF"/>
                  </a:solidFill>
                  <a:latin typeface="Century Gothic" panose="020B0502020202020204" pitchFamily="34" charset="0"/>
                </a:rPr>
                <a:t>Company Overview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5" name="Ellipse 43">
              <a:extLst>
                <a:ext uri="{FF2B5EF4-FFF2-40B4-BE49-F238E27FC236}">
                  <a16:creationId xmlns:a16="http://schemas.microsoft.com/office/drawing/2014/main" id="{CDE67640-DD6B-CE50-F4AF-6A673A4E43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9209" y="3900013"/>
              <a:ext cx="409575" cy="4012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1200" cap="none" spc="0" normalizeH="0" baseline="0" noProof="0">
                  <a:ln>
                    <a:noFill/>
                  </a:ln>
                  <a:solidFill>
                    <a:srgbClr val="151F6D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+</a:t>
              </a:r>
            </a:p>
          </p:txBody>
        </p:sp>
      </p:grpSp>
      <p:grpSp>
        <p:nvGrpSpPr>
          <p:cNvPr id="6" name="Group 6">
            <a:extLst>
              <a:ext uri="{FF2B5EF4-FFF2-40B4-BE49-F238E27FC236}">
                <a16:creationId xmlns:a16="http://schemas.microsoft.com/office/drawing/2014/main" id="{760B143D-1A79-50F7-46A1-5B81D522D977}"/>
              </a:ext>
            </a:extLst>
          </p:cNvPr>
          <p:cNvGrpSpPr>
            <a:grpSpLocks noChangeAspect="1"/>
          </p:cNvGrpSpPr>
          <p:nvPr/>
        </p:nvGrpSpPr>
        <p:grpSpPr>
          <a:xfrm>
            <a:off x="155875" y="1866777"/>
            <a:ext cx="6921574" cy="461896"/>
            <a:chOff x="155875" y="1278948"/>
            <a:chExt cx="6921574" cy="461896"/>
          </a:xfrm>
        </p:grpSpPr>
        <p:sp>
          <p:nvSpPr>
            <p:cNvPr id="7" name="Rechteck 13">
              <a:extLst>
                <a:ext uri="{FF2B5EF4-FFF2-40B4-BE49-F238E27FC236}">
                  <a16:creationId xmlns:a16="http://schemas.microsoft.com/office/drawing/2014/main" id="{D63B7B38-6408-FE1C-3749-279D58AD0E2E}"/>
                </a:ext>
              </a:extLst>
            </p:cNvPr>
            <p:cNvSpPr/>
            <p:nvPr/>
          </p:nvSpPr>
          <p:spPr>
            <a:xfrm>
              <a:off x="351656" y="1278948"/>
              <a:ext cx="6725793" cy="461896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352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Plasma Polish – A Game Changer </a:t>
              </a:r>
            </a:p>
          </p:txBody>
        </p:sp>
        <p:sp>
          <p:nvSpPr>
            <p:cNvPr id="9" name="Ellipse 43">
              <a:extLst>
                <a:ext uri="{FF2B5EF4-FFF2-40B4-BE49-F238E27FC236}">
                  <a16:creationId xmlns:a16="http://schemas.microsoft.com/office/drawing/2014/main" id="{544D5522-85C4-077D-5926-EC746759BC3E}"/>
                </a:ext>
              </a:extLst>
            </p:cNvPr>
            <p:cNvSpPr/>
            <p:nvPr/>
          </p:nvSpPr>
          <p:spPr>
            <a:xfrm>
              <a:off x="155875" y="1309260"/>
              <a:ext cx="409575" cy="4012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1200" cap="none" spc="0" normalizeH="0" baseline="0" noProof="0">
                  <a:ln>
                    <a:noFill/>
                  </a:ln>
                  <a:solidFill>
                    <a:srgbClr val="151F6D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+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4DB24DD-CF72-5753-5E11-4A4AFD1AD18E}"/>
              </a:ext>
            </a:extLst>
          </p:cNvPr>
          <p:cNvGrpSpPr>
            <a:grpSpLocks noChangeAspect="1"/>
          </p:cNvGrpSpPr>
          <p:nvPr/>
        </p:nvGrpSpPr>
        <p:grpSpPr>
          <a:xfrm>
            <a:off x="155875" y="2430183"/>
            <a:ext cx="6921574" cy="486445"/>
            <a:chOff x="155875" y="1807910"/>
            <a:chExt cx="6921574" cy="486445"/>
          </a:xfrm>
        </p:grpSpPr>
        <p:sp>
          <p:nvSpPr>
            <p:cNvPr id="12" name="Rechteck 17">
              <a:extLst>
                <a:ext uri="{FF2B5EF4-FFF2-40B4-BE49-F238E27FC236}">
                  <a16:creationId xmlns:a16="http://schemas.microsoft.com/office/drawing/2014/main" id="{6CA44762-FB90-C1C2-0C3C-A76825100704}"/>
                </a:ext>
              </a:extLst>
            </p:cNvPr>
            <p:cNvSpPr/>
            <p:nvPr/>
          </p:nvSpPr>
          <p:spPr>
            <a:xfrm>
              <a:off x="351656" y="1807910"/>
              <a:ext cx="6725793" cy="486445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352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Plasma Polish – Customer Value Proposition</a:t>
              </a:r>
            </a:p>
          </p:txBody>
        </p:sp>
        <p:sp>
          <p:nvSpPr>
            <p:cNvPr id="14" name="Ellipse 43">
              <a:extLst>
                <a:ext uri="{FF2B5EF4-FFF2-40B4-BE49-F238E27FC236}">
                  <a16:creationId xmlns:a16="http://schemas.microsoft.com/office/drawing/2014/main" id="{1B5204D9-46AA-31AF-CB8F-A1DADD2AC09E}"/>
                </a:ext>
              </a:extLst>
            </p:cNvPr>
            <p:cNvSpPr/>
            <p:nvPr/>
          </p:nvSpPr>
          <p:spPr>
            <a:xfrm>
              <a:off x="155875" y="1847370"/>
              <a:ext cx="409575" cy="4012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1200" cap="none" spc="0" normalizeH="0" baseline="0" noProof="0">
                  <a:ln>
                    <a:noFill/>
                  </a:ln>
                  <a:solidFill>
                    <a:srgbClr val="151F6D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+</a:t>
              </a:r>
            </a:p>
          </p:txBody>
        </p:sp>
      </p:grpSp>
      <p:grpSp>
        <p:nvGrpSpPr>
          <p:cNvPr id="15" name="Group 16">
            <a:extLst>
              <a:ext uri="{FF2B5EF4-FFF2-40B4-BE49-F238E27FC236}">
                <a16:creationId xmlns:a16="http://schemas.microsoft.com/office/drawing/2014/main" id="{B3B38EF6-9088-F90F-C6BF-575C6F99451E}"/>
              </a:ext>
            </a:extLst>
          </p:cNvPr>
          <p:cNvGrpSpPr>
            <a:grpSpLocks noChangeAspect="1"/>
          </p:cNvGrpSpPr>
          <p:nvPr/>
        </p:nvGrpSpPr>
        <p:grpSpPr>
          <a:xfrm>
            <a:off x="155875" y="2997692"/>
            <a:ext cx="6921574" cy="486445"/>
            <a:chOff x="155875" y="1807910"/>
            <a:chExt cx="6921574" cy="486445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F596B83-4C7A-50D7-3E93-AA203F7BB830}"/>
                </a:ext>
              </a:extLst>
            </p:cNvPr>
            <p:cNvSpPr/>
            <p:nvPr/>
          </p:nvSpPr>
          <p:spPr>
            <a:xfrm>
              <a:off x="351656" y="1807910"/>
              <a:ext cx="6725793" cy="486445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352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Program Update and </a:t>
              </a:r>
              <a:r>
                <a:rPr lang="en-US" sz="2000" b="1">
                  <a:solidFill>
                    <a:srgbClr val="FFFFFF"/>
                  </a:solidFill>
                  <a:latin typeface="Century Gothic" panose="020B0502020202020204" pitchFamily="34" charset="0"/>
                </a:rPr>
                <a:t>conclusions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17" name="Ellipse 43">
              <a:extLst>
                <a:ext uri="{FF2B5EF4-FFF2-40B4-BE49-F238E27FC236}">
                  <a16:creationId xmlns:a16="http://schemas.microsoft.com/office/drawing/2014/main" id="{6F1192F0-2AC3-EF97-DFD5-757D91FD1B5D}"/>
                </a:ext>
              </a:extLst>
            </p:cNvPr>
            <p:cNvSpPr/>
            <p:nvPr/>
          </p:nvSpPr>
          <p:spPr>
            <a:xfrm>
              <a:off x="155875" y="1847370"/>
              <a:ext cx="409575" cy="4012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1200" cap="none" spc="0" normalizeH="0" baseline="0" noProof="0">
                  <a:ln>
                    <a:noFill/>
                  </a:ln>
                  <a:solidFill>
                    <a:srgbClr val="151F6D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+</a:t>
              </a:r>
            </a:p>
          </p:txBody>
        </p:sp>
      </p:grpSp>
      <p:pic>
        <p:nvPicPr>
          <p:cNvPr id="18" name="Picture 2" descr="10 Things To know About SiC - Power Electronics News">
            <a:extLst>
              <a:ext uri="{FF2B5EF4-FFF2-40B4-BE49-F238E27FC236}">
                <a16:creationId xmlns:a16="http://schemas.microsoft.com/office/drawing/2014/main" id="{4BF3D3D1-333D-9EB2-ED63-086990C90B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5307" y="3927547"/>
            <a:ext cx="4578234" cy="2210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4E22D85C-ACA5-5800-3477-1B2E79709278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1</a:t>
            </a:fld>
            <a:endParaRPr lang="en-GB" sz="1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2784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684842D-4AF3-4900-F42C-4039582BD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482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8" imgH="329" progId="TCLayout.ActiveDocument.1">
                  <p:embed/>
                </p:oleObj>
              </mc:Choice>
              <mc:Fallback>
                <p:oleObj name="think-cell Folie" r:id="rId3" imgW="328" imgH="32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84842D-4AF3-4900-F42C-4039582BD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FD2D05-0A03-1EFA-7793-5174BAF7AD2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>
                <a:latin typeface="Century Gothic" panose="020B0502020202020204" pitchFamily="34" charset="0"/>
              </a:rPr>
              <a:t>Company Overview</a:t>
            </a:r>
          </a:p>
        </p:txBody>
      </p:sp>
    </p:spTree>
    <p:extLst>
      <p:ext uri="{BB962C8B-B14F-4D97-AF65-F5344CB8AC3E}">
        <p14:creationId xmlns:p14="http://schemas.microsoft.com/office/powerpoint/2010/main" val="1875441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557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9" imgH="330" progId="TCLayout.ActiveDocument.1">
                  <p:embed/>
                </p:oleObj>
              </mc:Choice>
              <mc:Fallback>
                <p:oleObj name="think-cell Folie" r:id="rId3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3200" dirty="0"/>
              <a:t>Oxford Instruments Plasma Technology</a:t>
            </a:r>
            <a:endParaRPr lang="en-US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5129402-D085-CD72-48BE-04C2454EBE3F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3</a:t>
            </a:fld>
            <a:endParaRPr lang="en-GB" sz="1200" dirty="0">
              <a:solidFill>
                <a:schemeClr val="accent2"/>
              </a:solidFill>
            </a:endParaRPr>
          </a:p>
        </p:txBody>
      </p:sp>
      <p:grpSp>
        <p:nvGrpSpPr>
          <p:cNvPr id="4" name="Group 14">
            <a:extLst>
              <a:ext uri="{FF2B5EF4-FFF2-40B4-BE49-F238E27FC236}">
                <a16:creationId xmlns:a16="http://schemas.microsoft.com/office/drawing/2014/main" id="{09B36858-B108-81CA-D607-0CA79A95EE87}"/>
              </a:ext>
            </a:extLst>
          </p:cNvPr>
          <p:cNvGrpSpPr/>
          <p:nvPr/>
        </p:nvGrpSpPr>
        <p:grpSpPr>
          <a:xfrm>
            <a:off x="317186" y="4028648"/>
            <a:ext cx="11529286" cy="2351149"/>
            <a:chOff x="331356" y="4159104"/>
            <a:chExt cx="11529286" cy="2160001"/>
          </a:xfrm>
        </p:grpSpPr>
        <p:sp>
          <p:nvSpPr>
            <p:cNvPr id="5" name="Rectangle 44">
              <a:extLst>
                <a:ext uri="{FF2B5EF4-FFF2-40B4-BE49-F238E27FC236}">
                  <a16:creationId xmlns:a16="http://schemas.microsoft.com/office/drawing/2014/main" id="{87447E94-39A1-3471-E287-EEB056C69AD6}"/>
                </a:ext>
              </a:extLst>
            </p:cNvPr>
            <p:cNvSpPr/>
            <p:nvPr/>
          </p:nvSpPr>
          <p:spPr>
            <a:xfrm>
              <a:off x="331356" y="4159105"/>
              <a:ext cx="11529286" cy="216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5163" tIns="42580" rIns="85163" bIns="42580" rtlCol="0" anchor="ctr"/>
            <a:lstStyle/>
            <a:p>
              <a:pPr algn="ctr"/>
              <a:endParaRPr lang="en-US" sz="1540">
                <a:latin typeface="Century Gothic" panose="020B0502020202020204" pitchFamily="34" charset="0"/>
              </a:endParaRPr>
            </a:p>
          </p:txBody>
        </p:sp>
        <p:sp>
          <p:nvSpPr>
            <p:cNvPr id="6" name="Content Placeholder 9">
              <a:extLst>
                <a:ext uri="{FF2B5EF4-FFF2-40B4-BE49-F238E27FC236}">
                  <a16:creationId xmlns:a16="http://schemas.microsoft.com/office/drawing/2014/main" id="{E3F174B8-B52F-8BD7-4EF0-93B05895B07C}"/>
                </a:ext>
              </a:extLst>
            </p:cNvPr>
            <p:cNvSpPr txBox="1">
              <a:spLocks/>
            </p:cNvSpPr>
            <p:nvPr/>
          </p:nvSpPr>
          <p:spPr>
            <a:xfrm>
              <a:off x="1300228" y="4286496"/>
              <a:ext cx="1989903" cy="651932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300"/>
                </a:spcAft>
                <a:buClr>
                  <a:srgbClr val="F79548"/>
                </a:buClr>
                <a:buFont typeface="Arial" panose="020B0604020202020204" pitchFamily="34" charset="0"/>
                <a:buNone/>
                <a:defRPr sz="1600" b="0" i="0" kern="1200">
                  <a:solidFill>
                    <a:schemeClr val="accent1"/>
                  </a:solidFill>
                  <a:latin typeface="Century Gothic" panose="020B0502020202020204" pitchFamily="34" charset="0"/>
                  <a:ea typeface="+mn-ea"/>
                  <a:cs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300"/>
                </a:spcAft>
                <a:buClr>
                  <a:srgbClr val="1C2674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300"/>
                </a:spcAft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Char char="•"/>
                <a:defRPr sz="1800" kern="1200">
                  <a:solidFill>
                    <a:srgbClr val="F79548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300"/>
                </a:spcAft>
                <a:buClr>
                  <a:srgbClr val="1C2674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300"/>
                </a:spcAft>
                <a:buClr>
                  <a:srgbClr val="F79548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/>
                <a:t>Research &amp; Discovery</a:t>
              </a:r>
              <a:endParaRPr lang="en-US"/>
            </a:p>
          </p:txBody>
        </p:sp>
        <p:sp>
          <p:nvSpPr>
            <p:cNvPr id="7" name="Rectangle 46">
              <a:extLst>
                <a:ext uri="{FF2B5EF4-FFF2-40B4-BE49-F238E27FC236}">
                  <a16:creationId xmlns:a16="http://schemas.microsoft.com/office/drawing/2014/main" id="{18DCEB71-1610-1628-381C-4920236B5C73}"/>
                </a:ext>
              </a:extLst>
            </p:cNvPr>
            <p:cNvSpPr/>
            <p:nvPr/>
          </p:nvSpPr>
          <p:spPr>
            <a:xfrm>
              <a:off x="331358" y="4159104"/>
              <a:ext cx="221102" cy="214444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5163" tIns="42580" rIns="85163" bIns="42580" rtlCol="0" anchor="ctr"/>
            <a:lstStyle/>
            <a:p>
              <a:pPr algn="ctr"/>
              <a:endParaRPr lang="en-US" sz="1540">
                <a:latin typeface="Century Gothic" panose="020B0502020202020204" pitchFamily="34" charset="0"/>
              </a:endParaRPr>
            </a:p>
          </p:txBody>
        </p:sp>
        <p:pic>
          <p:nvPicPr>
            <p:cNvPr id="9" name="Picture 4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03C99A36-C6CA-C517-7FFE-FA3FBA560B4A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9077" y="4283811"/>
              <a:ext cx="540000" cy="478145"/>
            </a:xfrm>
            <a:prstGeom prst="rect">
              <a:avLst/>
            </a:prstGeom>
          </p:spPr>
        </p:pic>
      </p:grpSp>
      <p:grpSp>
        <p:nvGrpSpPr>
          <p:cNvPr id="10" name="Group 13">
            <a:extLst>
              <a:ext uri="{FF2B5EF4-FFF2-40B4-BE49-F238E27FC236}">
                <a16:creationId xmlns:a16="http://schemas.microsoft.com/office/drawing/2014/main" id="{15297412-9EDA-A392-FC33-69AD4BAAB33C}"/>
              </a:ext>
            </a:extLst>
          </p:cNvPr>
          <p:cNvGrpSpPr/>
          <p:nvPr/>
        </p:nvGrpSpPr>
        <p:grpSpPr>
          <a:xfrm>
            <a:off x="330628" y="1693932"/>
            <a:ext cx="11530800" cy="2202771"/>
            <a:chOff x="330628" y="1725719"/>
            <a:chExt cx="11530800" cy="2066772"/>
          </a:xfrm>
        </p:grpSpPr>
        <p:sp>
          <p:nvSpPr>
            <p:cNvPr id="12" name="Rectangle 37">
              <a:extLst>
                <a:ext uri="{FF2B5EF4-FFF2-40B4-BE49-F238E27FC236}">
                  <a16:creationId xmlns:a16="http://schemas.microsoft.com/office/drawing/2014/main" id="{0E34BD51-6887-8D09-2DDB-817298948BA2}"/>
                </a:ext>
              </a:extLst>
            </p:cNvPr>
            <p:cNvSpPr/>
            <p:nvPr/>
          </p:nvSpPr>
          <p:spPr>
            <a:xfrm>
              <a:off x="330628" y="1725719"/>
              <a:ext cx="11530800" cy="20667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5163" tIns="42580" rIns="85163" bIns="42580" rtlCol="0" anchor="ctr"/>
            <a:lstStyle/>
            <a:p>
              <a:pPr algn="ctr"/>
              <a:endParaRPr lang="en-US" sz="1540">
                <a:latin typeface="Century Gothic" panose="020B0502020202020204" pitchFamily="34" charset="0"/>
              </a:endParaRPr>
            </a:p>
          </p:txBody>
        </p:sp>
        <p:sp>
          <p:nvSpPr>
            <p:cNvPr id="14" name="Content Placeholder 9">
              <a:extLst>
                <a:ext uri="{FF2B5EF4-FFF2-40B4-BE49-F238E27FC236}">
                  <a16:creationId xmlns:a16="http://schemas.microsoft.com/office/drawing/2014/main" id="{B8144CCD-38C5-FDFB-6E62-97005EBDBE0F}"/>
                </a:ext>
              </a:extLst>
            </p:cNvPr>
            <p:cNvSpPr txBox="1">
              <a:spLocks/>
            </p:cNvSpPr>
            <p:nvPr/>
          </p:nvSpPr>
          <p:spPr>
            <a:xfrm>
              <a:off x="1300228" y="1856325"/>
              <a:ext cx="1989903" cy="651932"/>
            </a:xfrm>
            <a:prstGeom prst="rect">
              <a:avLst/>
            </a:prstGeom>
          </p:spPr>
          <p:txBody>
            <a:bodyPr anchor="t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300"/>
                </a:spcAft>
                <a:buClr>
                  <a:srgbClr val="F79548"/>
                </a:buClr>
                <a:buFont typeface="Arial" panose="020B0604020202020204" pitchFamily="34" charset="0"/>
                <a:buNone/>
                <a:defRPr sz="1600" b="0" i="0" kern="1200">
                  <a:solidFill>
                    <a:srgbClr val="7ACC00"/>
                  </a:solidFill>
                  <a:latin typeface="Century Gothic" panose="020B0502020202020204" pitchFamily="34" charset="0"/>
                  <a:ea typeface="+mn-ea"/>
                  <a:cs typeface="Century Gothic" panose="020B0502020202020204" pitchFamily="34" charset="0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300"/>
                </a:spcAft>
                <a:buClr>
                  <a:srgbClr val="1C2674"/>
                </a:buClr>
                <a:buFont typeface="Arial" panose="020B0604020202020204" pitchFamily="34" charset="0"/>
                <a:buNone/>
                <a:defRPr sz="2000" b="1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300"/>
                </a:spcAft>
                <a:buClr>
                  <a:schemeClr val="bg1">
                    <a:lumMod val="75000"/>
                  </a:schemeClr>
                </a:buClr>
                <a:buFont typeface="Arial" panose="020B0604020202020204" pitchFamily="34" charset="0"/>
                <a:buNone/>
                <a:defRPr sz="1800" b="1" kern="1200">
                  <a:solidFill>
                    <a:srgbClr val="F79548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300"/>
                </a:spcAft>
                <a:buClr>
                  <a:srgbClr val="1C2674"/>
                </a:buClr>
                <a:buFont typeface="Arial" panose="020B0604020202020204" pitchFamily="34" charset="0"/>
                <a:buNone/>
                <a:defRPr sz="1600" b="1" kern="120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300"/>
                </a:spcAft>
                <a:buClr>
                  <a:srgbClr val="F79548"/>
                </a:buClr>
                <a:buFont typeface="Arial" panose="020B0604020202020204" pitchFamily="34" charset="0"/>
                <a:buNone/>
                <a:defRPr sz="1600" b="1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/>
                <a:t>Materials &amp; Characterisation</a:t>
              </a:r>
              <a:endParaRPr lang="en-US"/>
            </a:p>
          </p:txBody>
        </p:sp>
        <p:sp>
          <p:nvSpPr>
            <p:cNvPr id="15" name="Rectangle 41">
              <a:extLst>
                <a:ext uri="{FF2B5EF4-FFF2-40B4-BE49-F238E27FC236}">
                  <a16:creationId xmlns:a16="http://schemas.microsoft.com/office/drawing/2014/main" id="{40338547-B0C5-79CE-2BEC-222A847DA635}"/>
                </a:ext>
              </a:extLst>
            </p:cNvPr>
            <p:cNvSpPr/>
            <p:nvPr/>
          </p:nvSpPr>
          <p:spPr>
            <a:xfrm>
              <a:off x="331357" y="1725719"/>
              <a:ext cx="224126" cy="2066772"/>
            </a:xfrm>
            <a:prstGeom prst="rect">
              <a:avLst/>
            </a:prstGeom>
            <a:solidFill>
              <a:srgbClr val="7ACC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5163" tIns="42580" rIns="85163" bIns="42580" rtlCol="0" anchor="ctr"/>
            <a:lstStyle/>
            <a:p>
              <a:pPr algn="ctr"/>
              <a:endParaRPr lang="en-US" sz="1540">
                <a:solidFill>
                  <a:srgbClr val="7ACC00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6" name="Picture 50" descr="A picture containing game, drawing, room&#10;&#10;Description automatically generated">
              <a:extLst>
                <a:ext uri="{FF2B5EF4-FFF2-40B4-BE49-F238E27FC236}">
                  <a16:creationId xmlns:a16="http://schemas.microsoft.com/office/drawing/2014/main" id="{597421FC-7EF3-1305-842D-BE9E3C93E89E}"/>
                </a:ext>
              </a:extLst>
            </p:cNvPr>
            <p:cNvPicPr>
              <a:picLocks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9077" y="1856325"/>
              <a:ext cx="540000" cy="540000"/>
            </a:xfrm>
            <a:prstGeom prst="rect">
              <a:avLst/>
            </a:prstGeom>
          </p:spPr>
        </p:pic>
      </p:grp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86427965-DA30-2E32-177E-791EEB74F30A}"/>
              </a:ext>
            </a:extLst>
          </p:cNvPr>
          <p:cNvSpPr txBox="1">
            <a:spLocks/>
          </p:cNvSpPr>
          <p:nvPr/>
        </p:nvSpPr>
        <p:spPr>
          <a:xfrm>
            <a:off x="330628" y="1142441"/>
            <a:ext cx="11506844" cy="470491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GB" altLang="zh-TW" sz="2000" dirty="0">
                <a:solidFill>
                  <a:schemeClr val="bg1"/>
                </a:solidFill>
                <a:latin typeface="Century Gothic" panose="020B0502020202020204" pitchFamily="34" charset="0"/>
                <a:ea typeface="inherit"/>
              </a:rPr>
              <a:t>8 business units supporting all areas of semiconductor manufacturing and research
</a:t>
            </a:r>
            <a:endParaRPr lang="zh-TW" altLang="zh-TW" sz="2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8" name="Group 16">
            <a:extLst>
              <a:ext uri="{FF2B5EF4-FFF2-40B4-BE49-F238E27FC236}">
                <a16:creationId xmlns:a16="http://schemas.microsoft.com/office/drawing/2014/main" id="{19BCF98F-D2EB-39AC-98CD-807D9E009A88}"/>
              </a:ext>
            </a:extLst>
          </p:cNvPr>
          <p:cNvGrpSpPr/>
          <p:nvPr/>
        </p:nvGrpSpPr>
        <p:grpSpPr>
          <a:xfrm>
            <a:off x="5308837" y="4025783"/>
            <a:ext cx="1441729" cy="2179994"/>
            <a:chOff x="3683237" y="4025782"/>
            <a:chExt cx="1828800" cy="2521719"/>
          </a:xfrm>
        </p:grpSpPr>
        <p:grpSp>
          <p:nvGrpSpPr>
            <p:cNvPr id="19" name="Group 3">
              <a:extLst>
                <a:ext uri="{FF2B5EF4-FFF2-40B4-BE49-F238E27FC236}">
                  <a16:creationId xmlns:a16="http://schemas.microsoft.com/office/drawing/2014/main" id="{D4447FFD-9FC3-B682-62C1-D6584C0E9E9B}"/>
                </a:ext>
              </a:extLst>
            </p:cNvPr>
            <p:cNvGrpSpPr/>
            <p:nvPr/>
          </p:nvGrpSpPr>
          <p:grpSpPr>
            <a:xfrm>
              <a:off x="3817929" y="4025782"/>
              <a:ext cx="1624149" cy="1363033"/>
              <a:chOff x="3767867" y="3505948"/>
              <a:chExt cx="2160000" cy="1363033"/>
            </a:xfrm>
          </p:grpSpPr>
          <p:pic>
            <p:nvPicPr>
              <p:cNvPr id="21" name="Picture 2" descr="https://www.oxinst.com/assets/uploads/businesses/Andor.jpg">
                <a:extLst>
                  <a:ext uri="{FF2B5EF4-FFF2-40B4-BE49-F238E27FC236}">
                    <a16:creationId xmlns:a16="http://schemas.microsoft.com/office/drawing/2014/main" id="{B2A59A38-44AB-B43F-26F0-E1B78F3A163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-160" t="-15449"/>
              <a:stretch/>
            </p:blipFill>
            <p:spPr bwMode="auto">
              <a:xfrm>
                <a:off x="3768245" y="3505948"/>
                <a:ext cx="2159622" cy="136303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ctangle 18">
                <a:extLst>
                  <a:ext uri="{FF2B5EF4-FFF2-40B4-BE49-F238E27FC236}">
                    <a16:creationId xmlns:a16="http://schemas.microsoft.com/office/drawing/2014/main" id="{70448C24-2A22-E8F0-1794-3A71F8C37379}"/>
                  </a:ext>
                </a:extLst>
              </p:cNvPr>
              <p:cNvSpPr/>
              <p:nvPr/>
            </p:nvSpPr>
            <p:spPr bwMode="auto">
              <a:xfrm rot="5400000">
                <a:off x="4667867" y="2605948"/>
                <a:ext cx="360000" cy="2160000"/>
              </a:xfrm>
              <a:prstGeom prst="rect">
                <a:avLst/>
              </a:prstGeom>
              <a:solidFill>
                <a:srgbClr val="1C2674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vert="vert270" wrap="square" lIns="68580" tIns="34290" rIns="6858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>
                    <a:ln>
                      <a:solidFill>
                        <a:srgbClr val="FFFFFF"/>
                      </a:solidFill>
                    </a:ln>
                    <a:solidFill>
                      <a:srgbClr val="FFFFFF"/>
                    </a:solidFill>
                    <a:latin typeface="Century Gothic" panose="020B0502020202020204" pitchFamily="34" charset="0"/>
                    <a:ea typeface="Arial Unicode MS"/>
                  </a:rPr>
                  <a:t>ANDOR</a:t>
                </a:r>
              </a:p>
            </p:txBody>
          </p:sp>
        </p:grpSp>
        <p:sp>
          <p:nvSpPr>
            <p:cNvPr id="20" name="TextBox 55">
              <a:extLst>
                <a:ext uri="{FF2B5EF4-FFF2-40B4-BE49-F238E27FC236}">
                  <a16:creationId xmlns:a16="http://schemas.microsoft.com/office/drawing/2014/main" id="{D5A88E60-739F-3C14-F2E6-55D1D0193117}"/>
                </a:ext>
              </a:extLst>
            </p:cNvPr>
            <p:cNvSpPr txBox="1"/>
            <p:nvPr/>
          </p:nvSpPr>
          <p:spPr>
            <a:xfrm>
              <a:off x="3683237" y="5372628"/>
              <a:ext cx="1828800" cy="11748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>
                  <a:latin typeface="Century Gothic" panose="020B0502020202020204" pitchFamily="34" charset="0"/>
                </a:rPr>
                <a:t>Development &amp; manufacture of high performance </a:t>
              </a:r>
              <a:r>
                <a:rPr lang="en-GB" sz="10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scientific digital cameras </a:t>
              </a:r>
              <a:r>
                <a:rPr lang="en-GB" sz="1000">
                  <a:latin typeface="Century Gothic" panose="020B0502020202020204" pitchFamily="34" charset="0"/>
                </a:rPr>
                <a:t>and light microscopes</a:t>
              </a:r>
            </a:p>
          </p:txBody>
        </p:sp>
      </p:grpSp>
      <p:grpSp>
        <p:nvGrpSpPr>
          <p:cNvPr id="23" name="Group 2">
            <a:extLst>
              <a:ext uri="{FF2B5EF4-FFF2-40B4-BE49-F238E27FC236}">
                <a16:creationId xmlns:a16="http://schemas.microsoft.com/office/drawing/2014/main" id="{C03EFA87-47B8-9F65-6468-0711820DDCCD}"/>
              </a:ext>
            </a:extLst>
          </p:cNvPr>
          <p:cNvGrpSpPr/>
          <p:nvPr/>
        </p:nvGrpSpPr>
        <p:grpSpPr>
          <a:xfrm>
            <a:off x="7138242" y="1726010"/>
            <a:ext cx="1280393" cy="1174269"/>
            <a:chOff x="3767867" y="4953264"/>
            <a:chExt cx="2160000" cy="1358342"/>
          </a:xfrm>
        </p:grpSpPr>
        <p:pic>
          <p:nvPicPr>
            <p:cNvPr id="24" name="Picture 26">
              <a:extLst>
                <a:ext uri="{FF2B5EF4-FFF2-40B4-BE49-F238E27FC236}">
                  <a16:creationId xmlns:a16="http://schemas.microsoft.com/office/drawing/2014/main" id="{94CF1193-9260-27DB-64C1-B6ADB87676C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68245" y="4953264"/>
              <a:ext cx="2159622" cy="1358342"/>
            </a:xfrm>
            <a:prstGeom prst="rect">
              <a:avLst/>
            </a:prstGeom>
          </p:spPr>
        </p:pic>
        <p:sp>
          <p:nvSpPr>
            <p:cNvPr id="25" name="Rectangle 27">
              <a:extLst>
                <a:ext uri="{FF2B5EF4-FFF2-40B4-BE49-F238E27FC236}">
                  <a16:creationId xmlns:a16="http://schemas.microsoft.com/office/drawing/2014/main" id="{E6DBB97E-1C3E-A105-15A5-24E1016702CA}"/>
                </a:ext>
              </a:extLst>
            </p:cNvPr>
            <p:cNvSpPr/>
            <p:nvPr/>
          </p:nvSpPr>
          <p:spPr bwMode="auto">
            <a:xfrm rot="5400000">
              <a:off x="4667867" y="4053264"/>
              <a:ext cx="360000" cy="2160000"/>
            </a:xfrm>
            <a:prstGeom prst="rect">
              <a:avLst/>
            </a:prstGeom>
            <a:solidFill>
              <a:srgbClr val="1C2674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vert="vert270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>
                  <a:ln>
                    <a:solidFill>
                      <a:srgbClr val="FFFFFF"/>
                    </a:solidFill>
                  </a:ln>
                  <a:solidFill>
                    <a:srgbClr val="FFFFFF"/>
                  </a:solidFill>
                  <a:latin typeface="Century Gothic" panose="020B0502020202020204" pitchFamily="34" charset="0"/>
                  <a:ea typeface="Arial Unicode MS"/>
                </a:rPr>
                <a:t>MAGNETIC RESONANCE</a:t>
              </a:r>
            </a:p>
          </p:txBody>
        </p:sp>
      </p:grpSp>
      <p:sp>
        <p:nvSpPr>
          <p:cNvPr id="26" name="TextBox 56">
            <a:extLst>
              <a:ext uri="{FF2B5EF4-FFF2-40B4-BE49-F238E27FC236}">
                <a16:creationId xmlns:a16="http://schemas.microsoft.com/office/drawing/2014/main" id="{F53BF346-3509-ACEF-0DF8-3D8B00FAE5D6}"/>
              </a:ext>
            </a:extLst>
          </p:cNvPr>
          <p:cNvSpPr txBox="1"/>
          <p:nvPr/>
        </p:nvSpPr>
        <p:spPr>
          <a:xfrm>
            <a:off x="7114582" y="2903145"/>
            <a:ext cx="12917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>
                <a:latin typeface="Century Gothic" panose="020B0502020202020204" pitchFamily="34" charset="0"/>
              </a:rPr>
              <a:t>Offering a range of benchtop </a:t>
            </a:r>
            <a:r>
              <a:rPr lang="en-GB" sz="1000" b="1">
                <a:solidFill>
                  <a:schemeClr val="accent2"/>
                </a:solidFill>
                <a:latin typeface="Century Gothic" panose="020B0502020202020204" pitchFamily="34" charset="0"/>
              </a:rPr>
              <a:t>Nuclear Magnetic Resonance (NMR) </a:t>
            </a:r>
            <a:r>
              <a:rPr lang="en-GB" sz="1000">
                <a:latin typeface="Century Gothic" panose="020B0502020202020204" pitchFamily="34" charset="0"/>
              </a:rPr>
              <a:t>instruments</a:t>
            </a:r>
          </a:p>
        </p:txBody>
      </p:sp>
      <p:grpSp>
        <p:nvGrpSpPr>
          <p:cNvPr id="27" name="Group 7">
            <a:extLst>
              <a:ext uri="{FF2B5EF4-FFF2-40B4-BE49-F238E27FC236}">
                <a16:creationId xmlns:a16="http://schemas.microsoft.com/office/drawing/2014/main" id="{B0CC0A0C-2A17-2199-9507-B6A2F353B62A}"/>
              </a:ext>
            </a:extLst>
          </p:cNvPr>
          <p:cNvGrpSpPr/>
          <p:nvPr/>
        </p:nvGrpSpPr>
        <p:grpSpPr>
          <a:xfrm>
            <a:off x="7067345" y="4025782"/>
            <a:ext cx="1280169" cy="1164732"/>
            <a:chOff x="8601503" y="3507463"/>
            <a:chExt cx="2159622" cy="1347310"/>
          </a:xfrm>
        </p:grpSpPr>
        <p:pic>
          <p:nvPicPr>
            <p:cNvPr id="28" name="Picture 6" descr="https://www.oxinst.com/assets/uploads/businesses/NanoScience.jpg">
              <a:extLst>
                <a:ext uri="{FF2B5EF4-FFF2-40B4-BE49-F238E27FC236}">
                  <a16:creationId xmlns:a16="http://schemas.microsoft.com/office/drawing/2014/main" id="{886B492E-19C6-3753-316A-A74667812A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1503" y="3507463"/>
              <a:ext cx="2159622" cy="13473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33">
              <a:extLst>
                <a:ext uri="{FF2B5EF4-FFF2-40B4-BE49-F238E27FC236}">
                  <a16:creationId xmlns:a16="http://schemas.microsoft.com/office/drawing/2014/main" id="{28122382-2256-A308-3D3F-982B6F219730}"/>
                </a:ext>
              </a:extLst>
            </p:cNvPr>
            <p:cNvSpPr/>
            <p:nvPr/>
          </p:nvSpPr>
          <p:spPr bwMode="auto">
            <a:xfrm rot="5400000">
              <a:off x="9504521" y="2610859"/>
              <a:ext cx="360000" cy="2153208"/>
            </a:xfrm>
            <a:prstGeom prst="rect">
              <a:avLst/>
            </a:prstGeom>
            <a:solidFill>
              <a:srgbClr val="1C2674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vert="vert270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>
                  <a:ln>
                    <a:solidFill>
                      <a:srgbClr val="FFFFFF"/>
                    </a:solidFill>
                  </a:ln>
                  <a:solidFill>
                    <a:srgbClr val="FFFFFF"/>
                  </a:solidFill>
                  <a:latin typeface="Century Gothic" panose="020B0502020202020204" pitchFamily="34" charset="0"/>
                  <a:ea typeface="Arial Unicode MS"/>
                </a:rPr>
                <a:t>NANOSCIENCE</a:t>
              </a:r>
            </a:p>
          </p:txBody>
        </p:sp>
      </p:grpSp>
      <p:sp>
        <p:nvSpPr>
          <p:cNvPr id="30" name="TextBox 57">
            <a:extLst>
              <a:ext uri="{FF2B5EF4-FFF2-40B4-BE49-F238E27FC236}">
                <a16:creationId xmlns:a16="http://schemas.microsoft.com/office/drawing/2014/main" id="{636E460E-0993-983C-6B25-CE2D5FCCE466}"/>
              </a:ext>
            </a:extLst>
          </p:cNvPr>
          <p:cNvSpPr txBox="1"/>
          <p:nvPr/>
        </p:nvSpPr>
        <p:spPr>
          <a:xfrm>
            <a:off x="6918196" y="5221638"/>
            <a:ext cx="152383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>
                <a:latin typeface="Century Gothic" panose="020B0502020202020204" pitchFamily="34" charset="0"/>
              </a:rPr>
              <a:t>Enabling </a:t>
            </a:r>
            <a:r>
              <a:rPr lang="en-GB" sz="1000" b="1">
                <a:solidFill>
                  <a:schemeClr val="accent2"/>
                </a:solidFill>
                <a:latin typeface="Century Gothic" panose="020B0502020202020204" pitchFamily="34" charset="0"/>
              </a:rPr>
              <a:t>quantum</a:t>
            </a:r>
            <a:r>
              <a:rPr lang="en-GB" sz="1000">
                <a:latin typeface="Century Gothic" panose="020B0502020202020204" pitchFamily="34" charset="0"/>
              </a:rPr>
              <a:t> technologies, </a:t>
            </a:r>
            <a:r>
              <a:rPr lang="en-GB" sz="1000" b="1">
                <a:solidFill>
                  <a:schemeClr val="accent2"/>
                </a:solidFill>
                <a:latin typeface="Century Gothic" panose="020B0502020202020204" pitchFamily="34" charset="0"/>
              </a:rPr>
              <a:t>nano</a:t>
            </a:r>
            <a:r>
              <a:rPr lang="en-GB" sz="1000">
                <a:latin typeface="Century Gothic" panose="020B0502020202020204" pitchFamily="34" charset="0"/>
              </a:rPr>
              <a:t> technology research, advanced materials &amp; nano device developmen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A7EF64F5-45A5-6954-8247-20F55A101097}"/>
              </a:ext>
            </a:extLst>
          </p:cNvPr>
          <p:cNvSpPr txBox="1">
            <a:spLocks/>
          </p:cNvSpPr>
          <p:nvPr/>
        </p:nvSpPr>
        <p:spPr>
          <a:xfrm>
            <a:off x="1300225" y="2304608"/>
            <a:ext cx="2154664" cy="79772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400" dirty="0">
                <a:latin typeface="Century Gothic" panose="020B0502020202020204" pitchFamily="34" charset="0"/>
              </a:rPr>
              <a:t>Products and solutions that enable the fabrication and characterisation of devices down to the atomic scale.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783EC3C-14F0-EB7D-2DBF-D0A324C1A8B4}"/>
              </a:ext>
            </a:extLst>
          </p:cNvPr>
          <p:cNvSpPr txBox="1">
            <a:spLocks/>
          </p:cNvSpPr>
          <p:nvPr/>
        </p:nvSpPr>
        <p:spPr>
          <a:xfrm>
            <a:off x="1297163" y="4616397"/>
            <a:ext cx="2154664" cy="8211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400" dirty="0">
                <a:latin typeface="Century Gothic" panose="020B0502020202020204" pitchFamily="34" charset="0"/>
              </a:rPr>
              <a:t>Provides advanced solutions that create unique environments and enable imaging and analytical measurements down to molecular and atomic levels.</a:t>
            </a:r>
            <a:endParaRPr lang="en-GB" sz="1400" dirty="0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3" name="Straight Connector 21">
            <a:extLst>
              <a:ext uri="{FF2B5EF4-FFF2-40B4-BE49-F238E27FC236}">
                <a16:creationId xmlns:a16="http://schemas.microsoft.com/office/drawing/2014/main" id="{82528868-E0D0-7B96-0894-54487E6D4A66}"/>
              </a:ext>
            </a:extLst>
          </p:cNvPr>
          <p:cNvCxnSpPr/>
          <p:nvPr/>
        </p:nvCxnSpPr>
        <p:spPr>
          <a:xfrm>
            <a:off x="3455096" y="1788005"/>
            <a:ext cx="0" cy="20258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67">
            <a:extLst>
              <a:ext uri="{FF2B5EF4-FFF2-40B4-BE49-F238E27FC236}">
                <a16:creationId xmlns:a16="http://schemas.microsoft.com/office/drawing/2014/main" id="{0BD1B335-15A6-5E61-3D96-66C1C92D278A}"/>
              </a:ext>
            </a:extLst>
          </p:cNvPr>
          <p:cNvCxnSpPr/>
          <p:nvPr/>
        </p:nvCxnSpPr>
        <p:spPr>
          <a:xfrm>
            <a:off x="3445129" y="4165314"/>
            <a:ext cx="0" cy="20258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20">
            <a:extLst>
              <a:ext uri="{FF2B5EF4-FFF2-40B4-BE49-F238E27FC236}">
                <a16:creationId xmlns:a16="http://schemas.microsoft.com/office/drawing/2014/main" id="{4BA8124A-3ED6-AD13-B611-36422B9F149A}"/>
              </a:ext>
            </a:extLst>
          </p:cNvPr>
          <p:cNvGrpSpPr/>
          <p:nvPr/>
        </p:nvGrpSpPr>
        <p:grpSpPr>
          <a:xfrm>
            <a:off x="8624111" y="4025782"/>
            <a:ext cx="1441729" cy="2189932"/>
            <a:chOff x="9988944" y="4025782"/>
            <a:chExt cx="1828800" cy="2533215"/>
          </a:xfrm>
        </p:grpSpPr>
        <p:grpSp>
          <p:nvGrpSpPr>
            <p:cNvPr id="36" name="Group 15">
              <a:extLst>
                <a:ext uri="{FF2B5EF4-FFF2-40B4-BE49-F238E27FC236}">
                  <a16:creationId xmlns:a16="http://schemas.microsoft.com/office/drawing/2014/main" id="{3CF1D492-1DA0-50D7-49F9-78670164B295}"/>
                </a:ext>
              </a:extLst>
            </p:cNvPr>
            <p:cNvGrpSpPr/>
            <p:nvPr/>
          </p:nvGrpSpPr>
          <p:grpSpPr>
            <a:xfrm>
              <a:off x="10079697" y="4025782"/>
              <a:ext cx="1624149" cy="1350287"/>
              <a:chOff x="6184685" y="4953264"/>
              <a:chExt cx="1624149" cy="1350287"/>
            </a:xfrm>
          </p:grpSpPr>
          <p:pic>
            <p:nvPicPr>
              <p:cNvPr id="38" name="Picture 10" descr="https://www.oxinst.com/assets/uploads/businesses/XT.jpg">
                <a:extLst>
                  <a:ext uri="{FF2B5EF4-FFF2-40B4-BE49-F238E27FC236}">
                    <a16:creationId xmlns:a16="http://schemas.microsoft.com/office/drawing/2014/main" id="{169DE824-E445-F26E-E2A7-56D3BD4611F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84685" y="4953264"/>
                <a:ext cx="1624149" cy="13502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9" name="Rectangle 39">
                <a:extLst>
                  <a:ext uri="{FF2B5EF4-FFF2-40B4-BE49-F238E27FC236}">
                    <a16:creationId xmlns:a16="http://schemas.microsoft.com/office/drawing/2014/main" id="{A98B7F47-AFCB-7D46-2D08-55D2F4309082}"/>
                  </a:ext>
                </a:extLst>
              </p:cNvPr>
              <p:cNvSpPr/>
              <p:nvPr/>
            </p:nvSpPr>
            <p:spPr bwMode="auto">
              <a:xfrm rot="5400000">
                <a:off x="6816949" y="4321379"/>
                <a:ext cx="360000" cy="1623770"/>
              </a:xfrm>
              <a:prstGeom prst="rect">
                <a:avLst/>
              </a:prstGeom>
              <a:solidFill>
                <a:srgbClr val="1C2674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vert="vert270" wrap="square" lIns="68580" tIns="34290" rIns="6858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>
                    <a:ln>
                      <a:solidFill>
                        <a:srgbClr val="FFFFFF"/>
                      </a:solidFill>
                    </a:ln>
                    <a:solidFill>
                      <a:srgbClr val="FFFFFF"/>
                    </a:solidFill>
                    <a:latin typeface="Century Gothic" panose="020B0502020202020204" pitchFamily="34" charset="0"/>
                    <a:ea typeface="Arial Unicode MS"/>
                  </a:rPr>
                  <a:t>X-RAY TECHNOLOGY</a:t>
                </a:r>
              </a:p>
            </p:txBody>
          </p:sp>
        </p:grpSp>
        <p:sp>
          <p:nvSpPr>
            <p:cNvPr id="37" name="TextBox 68">
              <a:extLst>
                <a:ext uri="{FF2B5EF4-FFF2-40B4-BE49-F238E27FC236}">
                  <a16:creationId xmlns:a16="http://schemas.microsoft.com/office/drawing/2014/main" id="{CC40A22D-CC06-8702-E2D3-3F75775F253C}"/>
                </a:ext>
              </a:extLst>
            </p:cNvPr>
            <p:cNvSpPr txBox="1"/>
            <p:nvPr/>
          </p:nvSpPr>
          <p:spPr>
            <a:xfrm>
              <a:off x="9988944" y="5384124"/>
              <a:ext cx="1828800" cy="11748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>
                  <a:latin typeface="Century Gothic" panose="020B0502020202020204" pitchFamily="34" charset="0"/>
                </a:rPr>
                <a:t>Leading manufacturer of </a:t>
              </a:r>
              <a:r>
                <a:rPr lang="en-GB" sz="10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x-ray tubes</a:t>
              </a:r>
              <a:r>
                <a:rPr lang="en-GB" sz="1000">
                  <a:latin typeface="Century Gothic" panose="020B0502020202020204" pitchFamily="34" charset="0"/>
                </a:rPr>
                <a:t>, power supplies &amp; integrated</a:t>
              </a:r>
              <a:br>
                <a:rPr lang="en-GB" sz="1000">
                  <a:latin typeface="Century Gothic" panose="020B0502020202020204" pitchFamily="34" charset="0"/>
                </a:rPr>
              </a:br>
              <a:r>
                <a:rPr lang="en-GB" sz="1000">
                  <a:latin typeface="Century Gothic" panose="020B0502020202020204" pitchFamily="34" charset="0"/>
                </a:rPr>
                <a:t>x-ray sources</a:t>
              </a:r>
            </a:p>
          </p:txBody>
        </p:sp>
      </p:grpSp>
      <p:grpSp>
        <p:nvGrpSpPr>
          <p:cNvPr id="40" name="Group 4">
            <a:extLst>
              <a:ext uri="{FF2B5EF4-FFF2-40B4-BE49-F238E27FC236}">
                <a16:creationId xmlns:a16="http://schemas.microsoft.com/office/drawing/2014/main" id="{E48CC7C4-9000-9735-7DC7-765AAA4C95E1}"/>
              </a:ext>
            </a:extLst>
          </p:cNvPr>
          <p:cNvGrpSpPr/>
          <p:nvPr/>
        </p:nvGrpSpPr>
        <p:grpSpPr>
          <a:xfrm>
            <a:off x="8624535" y="1745296"/>
            <a:ext cx="1441729" cy="2017715"/>
            <a:chOff x="5797250" y="1707224"/>
            <a:chExt cx="1828800" cy="2334002"/>
          </a:xfrm>
        </p:grpSpPr>
        <p:grpSp>
          <p:nvGrpSpPr>
            <p:cNvPr id="41" name="Group 47">
              <a:extLst>
                <a:ext uri="{FF2B5EF4-FFF2-40B4-BE49-F238E27FC236}">
                  <a16:creationId xmlns:a16="http://schemas.microsoft.com/office/drawing/2014/main" id="{0F52A9DE-7E27-EF0E-E1CC-480BC2041899}"/>
                </a:ext>
              </a:extLst>
            </p:cNvPr>
            <p:cNvGrpSpPr/>
            <p:nvPr/>
          </p:nvGrpSpPr>
          <p:grpSpPr>
            <a:xfrm>
              <a:off x="5903575" y="1707224"/>
              <a:ext cx="1624151" cy="1362778"/>
              <a:chOff x="3768245" y="1981290"/>
              <a:chExt cx="2160002" cy="1362778"/>
            </a:xfrm>
          </p:grpSpPr>
          <p:pic>
            <p:nvPicPr>
              <p:cNvPr id="43" name="Picture 48">
                <a:extLst>
                  <a:ext uri="{FF2B5EF4-FFF2-40B4-BE49-F238E27FC236}">
                    <a16:creationId xmlns:a16="http://schemas.microsoft.com/office/drawing/2014/main" id="{93CFEF3D-5755-3398-F9E6-B5EE70C7535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-85" t="-15218"/>
              <a:stretch/>
            </p:blipFill>
            <p:spPr>
              <a:xfrm>
                <a:off x="3768245" y="1981290"/>
                <a:ext cx="2159999" cy="1362778"/>
              </a:xfrm>
              <a:prstGeom prst="rect">
                <a:avLst/>
              </a:prstGeom>
            </p:spPr>
          </p:pic>
          <p:sp>
            <p:nvSpPr>
              <p:cNvPr id="44" name="Rectangle 51">
                <a:extLst>
                  <a:ext uri="{FF2B5EF4-FFF2-40B4-BE49-F238E27FC236}">
                    <a16:creationId xmlns:a16="http://schemas.microsoft.com/office/drawing/2014/main" id="{1C1900B9-ABA1-AEE7-46B5-EAA9609C24BC}"/>
                  </a:ext>
                </a:extLst>
              </p:cNvPr>
              <p:cNvSpPr/>
              <p:nvPr/>
            </p:nvSpPr>
            <p:spPr bwMode="auto">
              <a:xfrm rot="5400000">
                <a:off x="4668247" y="1081290"/>
                <a:ext cx="360000" cy="216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vert="vert270" wrap="square" lIns="68580" tIns="34290" rIns="6858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>
                    <a:ln>
                      <a:solidFill>
                        <a:srgbClr val="FFFFFF"/>
                      </a:solidFill>
                    </a:ln>
                    <a:solidFill>
                      <a:srgbClr val="FFFFFF"/>
                    </a:solidFill>
                    <a:latin typeface="Century Gothic" panose="020B0502020202020204" pitchFamily="34" charset="0"/>
                    <a:ea typeface="Arial Unicode MS"/>
                  </a:rPr>
                  <a:t>NANOANALYSIS</a:t>
                </a:r>
              </a:p>
            </p:txBody>
          </p:sp>
        </p:grpSp>
        <p:sp>
          <p:nvSpPr>
            <p:cNvPr id="42" name="TextBox 58">
              <a:extLst>
                <a:ext uri="{FF2B5EF4-FFF2-40B4-BE49-F238E27FC236}">
                  <a16:creationId xmlns:a16="http://schemas.microsoft.com/office/drawing/2014/main" id="{7C680E5A-B128-D663-53E9-04177393447A}"/>
                </a:ext>
              </a:extLst>
            </p:cNvPr>
            <p:cNvSpPr txBox="1"/>
            <p:nvPr/>
          </p:nvSpPr>
          <p:spPr>
            <a:xfrm>
              <a:off x="5797250" y="3044364"/>
              <a:ext cx="1828800" cy="996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>
                  <a:latin typeface="Century Gothic" panose="020B0502020202020204" pitchFamily="34" charset="0"/>
                </a:rPr>
                <a:t>Enabling materials characterisation and </a:t>
              </a:r>
              <a:r>
                <a:rPr lang="en-GB" sz="10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sample manipulation </a:t>
              </a:r>
              <a:r>
                <a:rPr lang="en-GB" sz="1000">
                  <a:latin typeface="Century Gothic" panose="020B0502020202020204" pitchFamily="34" charset="0"/>
                </a:rPr>
                <a:t>at the nanometre scale</a:t>
              </a:r>
            </a:p>
          </p:txBody>
        </p:sp>
      </p:grpSp>
      <p:grpSp>
        <p:nvGrpSpPr>
          <p:cNvPr id="45" name="Group 10">
            <a:extLst>
              <a:ext uri="{FF2B5EF4-FFF2-40B4-BE49-F238E27FC236}">
                <a16:creationId xmlns:a16="http://schemas.microsoft.com/office/drawing/2014/main" id="{0979ED67-897E-7684-05A1-C8E25976E443}"/>
              </a:ext>
            </a:extLst>
          </p:cNvPr>
          <p:cNvGrpSpPr/>
          <p:nvPr/>
        </p:nvGrpSpPr>
        <p:grpSpPr>
          <a:xfrm>
            <a:off x="5435779" y="1739302"/>
            <a:ext cx="1405303" cy="2002131"/>
            <a:chOff x="3729441" y="1707224"/>
            <a:chExt cx="1828800" cy="2347624"/>
          </a:xfrm>
        </p:grpSpPr>
        <p:grpSp>
          <p:nvGrpSpPr>
            <p:cNvPr id="46" name="Group 59">
              <a:extLst>
                <a:ext uri="{FF2B5EF4-FFF2-40B4-BE49-F238E27FC236}">
                  <a16:creationId xmlns:a16="http://schemas.microsoft.com/office/drawing/2014/main" id="{1B73F876-2522-EEEF-8C4F-DDF084F5B23D}"/>
                </a:ext>
              </a:extLst>
            </p:cNvPr>
            <p:cNvGrpSpPr/>
            <p:nvPr/>
          </p:nvGrpSpPr>
          <p:grpSpPr>
            <a:xfrm>
              <a:off x="3817929" y="1707224"/>
              <a:ext cx="1624434" cy="1359209"/>
              <a:chOff x="6184685" y="1981290"/>
              <a:chExt cx="2160379" cy="1359209"/>
            </a:xfrm>
          </p:grpSpPr>
          <p:pic>
            <p:nvPicPr>
              <p:cNvPr id="48" name="Picture 4" descr="https://www.oxinst.com/assets/uploads/businesses/Asylum.jpg">
                <a:extLst>
                  <a:ext uri="{FF2B5EF4-FFF2-40B4-BE49-F238E27FC236}">
                    <a16:creationId xmlns:a16="http://schemas.microsoft.com/office/drawing/2014/main" id="{7ECA814D-84D8-A5C6-5A94-15BCC7B6584B}"/>
                  </a:ext>
                </a:extLst>
              </p:cNvPr>
              <p:cNvPicPr>
                <a:picLocks noChangeArrowheads="1"/>
              </p:cNvPicPr>
              <p:nvPr/>
            </p:nvPicPr>
            <p:blipFill rotWithShape="1"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184685" y="1981290"/>
                <a:ext cx="2160379" cy="1359209"/>
              </a:xfrm>
              <a:prstGeom prst="rect">
                <a:avLst/>
              </a:prstGeom>
              <a:solidFill>
                <a:srgbClr val="1C2674"/>
              </a:solidFill>
            </p:spPr>
          </p:pic>
          <p:sp>
            <p:nvSpPr>
              <p:cNvPr id="49" name="Rectangle 61">
                <a:extLst>
                  <a:ext uri="{FF2B5EF4-FFF2-40B4-BE49-F238E27FC236}">
                    <a16:creationId xmlns:a16="http://schemas.microsoft.com/office/drawing/2014/main" id="{21854115-96ED-77A9-8C00-8FEA71611895}"/>
                  </a:ext>
                </a:extLst>
              </p:cNvPr>
              <p:cNvSpPr/>
              <p:nvPr/>
            </p:nvSpPr>
            <p:spPr bwMode="auto">
              <a:xfrm rot="5400000">
                <a:off x="7085064" y="1081290"/>
                <a:ext cx="360000" cy="2160000"/>
              </a:xfrm>
              <a:prstGeom prst="rect">
                <a:avLst/>
              </a:prstGeom>
              <a:solidFill>
                <a:srgbClr val="1C2674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vert="vert270" wrap="square" lIns="68580" tIns="34290" rIns="6858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>
                    <a:ln>
                      <a:solidFill>
                        <a:srgbClr val="FFFFFF"/>
                      </a:solidFill>
                    </a:ln>
                    <a:solidFill>
                      <a:srgbClr val="FFFFFF"/>
                    </a:solidFill>
                    <a:latin typeface="Century Gothic" panose="020B0502020202020204" pitchFamily="34" charset="0"/>
                    <a:ea typeface="Arial Unicode MS"/>
                  </a:rPr>
                  <a:t>ASYLUM</a:t>
                </a:r>
              </a:p>
            </p:txBody>
          </p:sp>
        </p:grpSp>
        <p:sp>
          <p:nvSpPr>
            <p:cNvPr id="47" name="TextBox 62">
              <a:extLst>
                <a:ext uri="{FF2B5EF4-FFF2-40B4-BE49-F238E27FC236}">
                  <a16:creationId xmlns:a16="http://schemas.microsoft.com/office/drawing/2014/main" id="{AC738FC8-E745-C6A3-A95B-0C0459EC5870}"/>
                </a:ext>
              </a:extLst>
            </p:cNvPr>
            <p:cNvSpPr txBox="1"/>
            <p:nvPr/>
          </p:nvSpPr>
          <p:spPr>
            <a:xfrm>
              <a:off x="3729441" y="3044364"/>
              <a:ext cx="1828800" cy="10104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>
                  <a:latin typeface="Century Gothic" panose="020B0502020202020204" pitchFamily="34" charset="0"/>
                </a:rPr>
                <a:t>Leader in development &amp; manufacture of </a:t>
              </a:r>
              <a:r>
                <a:rPr lang="en-GB" sz="10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Atomic Force Microscopy (AFMs)</a:t>
              </a:r>
            </a:p>
          </p:txBody>
        </p:sp>
      </p:grpSp>
      <p:grpSp>
        <p:nvGrpSpPr>
          <p:cNvPr id="50" name="Group 5">
            <a:extLst>
              <a:ext uri="{FF2B5EF4-FFF2-40B4-BE49-F238E27FC236}">
                <a16:creationId xmlns:a16="http://schemas.microsoft.com/office/drawing/2014/main" id="{08DA5130-F717-7A9B-20A4-BD464871C9FE}"/>
              </a:ext>
            </a:extLst>
          </p:cNvPr>
          <p:cNvGrpSpPr>
            <a:grpSpLocks noChangeAspect="1"/>
          </p:cNvGrpSpPr>
          <p:nvPr/>
        </p:nvGrpSpPr>
        <p:grpSpPr>
          <a:xfrm>
            <a:off x="3454889" y="1751181"/>
            <a:ext cx="1989585" cy="2149195"/>
            <a:chOff x="7887042" y="1707224"/>
            <a:chExt cx="1828800" cy="1801517"/>
          </a:xfrm>
        </p:grpSpPr>
        <p:grpSp>
          <p:nvGrpSpPr>
            <p:cNvPr id="51" name="Group 6">
              <a:extLst>
                <a:ext uri="{FF2B5EF4-FFF2-40B4-BE49-F238E27FC236}">
                  <a16:creationId xmlns:a16="http://schemas.microsoft.com/office/drawing/2014/main" id="{4FE8D566-1FF9-872C-AB39-E042E4B90CED}"/>
                </a:ext>
              </a:extLst>
            </p:cNvPr>
            <p:cNvGrpSpPr/>
            <p:nvPr/>
          </p:nvGrpSpPr>
          <p:grpSpPr>
            <a:xfrm>
              <a:off x="7989225" y="1707224"/>
              <a:ext cx="1628973" cy="1355513"/>
              <a:chOff x="8601501" y="1981290"/>
              <a:chExt cx="2166415" cy="1355513"/>
            </a:xfrm>
          </p:grpSpPr>
          <p:pic>
            <p:nvPicPr>
              <p:cNvPr id="53" name="Picture 8" descr="https://www.oxinst.com/assets/uploads/businesses/Plasma.PNG">
                <a:extLst>
                  <a:ext uri="{FF2B5EF4-FFF2-40B4-BE49-F238E27FC236}">
                    <a16:creationId xmlns:a16="http://schemas.microsoft.com/office/drawing/2014/main" id="{9B8C9B3A-F6C7-2FA3-5355-D1DD132A49E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01501" y="1981290"/>
                <a:ext cx="2166415" cy="13555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4" name="Rectangle 36">
                <a:extLst>
                  <a:ext uri="{FF2B5EF4-FFF2-40B4-BE49-F238E27FC236}">
                    <a16:creationId xmlns:a16="http://schemas.microsoft.com/office/drawing/2014/main" id="{3522DE09-3241-FD40-98B0-85CD2B53F2C6}"/>
                  </a:ext>
                </a:extLst>
              </p:cNvPr>
              <p:cNvSpPr/>
              <p:nvPr/>
            </p:nvSpPr>
            <p:spPr bwMode="auto">
              <a:xfrm rot="5400000">
                <a:off x="9501882" y="1081290"/>
                <a:ext cx="360000" cy="2160001"/>
              </a:xfrm>
              <a:prstGeom prst="rect">
                <a:avLst/>
              </a:prstGeom>
              <a:solidFill>
                <a:srgbClr val="1C2674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vert="vert270" wrap="square" lIns="68580" tIns="34290" rIns="6858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>
                    <a:ln>
                      <a:solidFill>
                        <a:srgbClr val="FFFFFF"/>
                      </a:solidFill>
                    </a:ln>
                    <a:solidFill>
                      <a:srgbClr val="FFFFFF"/>
                    </a:solidFill>
                    <a:latin typeface="Century Gothic" panose="020B0502020202020204" pitchFamily="34" charset="0"/>
                    <a:ea typeface="Arial Unicode MS"/>
                  </a:rPr>
                  <a:t>PLASMA TECHNOLOGY</a:t>
                </a:r>
              </a:p>
            </p:txBody>
          </p:sp>
        </p:grpSp>
        <p:sp>
          <p:nvSpPr>
            <p:cNvPr id="52" name="TextBox 54">
              <a:extLst>
                <a:ext uri="{FF2B5EF4-FFF2-40B4-BE49-F238E27FC236}">
                  <a16:creationId xmlns:a16="http://schemas.microsoft.com/office/drawing/2014/main" id="{68859D85-29EA-B428-F09F-0C2A6CF3910B}"/>
                </a:ext>
              </a:extLst>
            </p:cNvPr>
            <p:cNvSpPr txBox="1"/>
            <p:nvPr/>
          </p:nvSpPr>
          <p:spPr>
            <a:xfrm>
              <a:off x="7887042" y="3044364"/>
              <a:ext cx="1828800" cy="4643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>
                  <a:latin typeface="Century Gothic" panose="020B0502020202020204" pitchFamily="34" charset="0"/>
                </a:rPr>
                <a:t>Leading provider of </a:t>
              </a:r>
              <a:r>
                <a:rPr lang="en-GB" sz="10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etch and deposition </a:t>
              </a:r>
              <a:r>
                <a:rPr lang="en-GB" sz="1000">
                  <a:latin typeface="Century Gothic" panose="020B0502020202020204" pitchFamily="34" charset="0"/>
                </a:rPr>
                <a:t>processing solutions and recipes</a:t>
              </a:r>
            </a:p>
          </p:txBody>
        </p:sp>
      </p:grpSp>
      <p:sp>
        <p:nvSpPr>
          <p:cNvPr id="55" name="Rectangle 53">
            <a:extLst>
              <a:ext uri="{FF2B5EF4-FFF2-40B4-BE49-F238E27FC236}">
                <a16:creationId xmlns:a16="http://schemas.microsoft.com/office/drawing/2014/main" id="{90A1FD0C-9104-66A3-1231-62CAD8F85AE6}"/>
              </a:ext>
            </a:extLst>
          </p:cNvPr>
          <p:cNvSpPr/>
          <p:nvPr/>
        </p:nvSpPr>
        <p:spPr bwMode="auto">
          <a:xfrm rot="5400000">
            <a:off x="10736165" y="1228630"/>
            <a:ext cx="311215" cy="1280394"/>
          </a:xfrm>
          <a:prstGeom prst="rect">
            <a:avLst/>
          </a:prstGeom>
          <a:solidFill>
            <a:srgbClr val="1C267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vert270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Century Gothic" panose="020B0502020202020204" pitchFamily="34" charset="0"/>
                <a:ea typeface="Arial Unicode MS"/>
              </a:rPr>
              <a:t>W</a:t>
            </a:r>
            <a:r>
              <a:rPr lang="en-GB" sz="900" err="1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Century Gothic" panose="020B0502020202020204" pitchFamily="34" charset="0"/>
                <a:ea typeface="Arial Unicode MS"/>
              </a:rPr>
              <a:t>ITec</a:t>
            </a:r>
            <a:endParaRPr lang="en-GB" sz="900">
              <a:ln>
                <a:solidFill>
                  <a:srgbClr val="FFFFFF"/>
                </a:solidFill>
              </a:ln>
              <a:solidFill>
                <a:srgbClr val="FFFFFF"/>
              </a:solidFill>
              <a:latin typeface="Century Gothic" panose="020B0502020202020204" pitchFamily="34" charset="0"/>
              <a:ea typeface="Arial Unicode MS"/>
            </a:endParaRPr>
          </a:p>
        </p:txBody>
      </p:sp>
      <p:sp>
        <p:nvSpPr>
          <p:cNvPr id="56" name="TextBox 63">
            <a:extLst>
              <a:ext uri="{FF2B5EF4-FFF2-40B4-BE49-F238E27FC236}">
                <a16:creationId xmlns:a16="http://schemas.microsoft.com/office/drawing/2014/main" id="{59B82060-2CC9-5ECC-230C-03BAAFCD59F1}"/>
              </a:ext>
            </a:extLst>
          </p:cNvPr>
          <p:cNvSpPr txBox="1"/>
          <p:nvPr/>
        </p:nvSpPr>
        <p:spPr>
          <a:xfrm>
            <a:off x="10142281" y="2882004"/>
            <a:ext cx="1581769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>
                <a:latin typeface="Century Gothic" panose="020B0502020202020204" pitchFamily="34" charset="0"/>
              </a:rPr>
              <a:t>Leader in d </a:t>
            </a:r>
            <a:r>
              <a:rPr lang="en-GB" sz="1000" b="1">
                <a:solidFill>
                  <a:schemeClr val="accent2"/>
                </a:solidFill>
                <a:latin typeface="Century Gothic" panose="020B0502020202020204" pitchFamily="34" charset="0"/>
              </a:rPr>
              <a:t>Raman</a:t>
            </a:r>
            <a:r>
              <a:rPr lang="en-GB" sz="1000">
                <a:latin typeface="Century Gothic" panose="020B0502020202020204" pitchFamily="34" charset="0"/>
              </a:rPr>
              <a:t>, Atomic Force Microscopy, and </a:t>
            </a:r>
            <a:r>
              <a:rPr lang="en-US" sz="1000" b="0" i="0">
                <a:effectLst/>
                <a:latin typeface="Century Gothic" panose="020B0502020202020204" pitchFamily="34" charset="0"/>
              </a:rPr>
              <a:t>Scanning </a:t>
            </a:r>
            <a:r>
              <a:rPr lang="en-US" sz="1000" b="1" i="0">
                <a:solidFill>
                  <a:schemeClr val="accent2"/>
                </a:solidFill>
                <a:effectLst/>
                <a:latin typeface="Century Gothic" panose="020B0502020202020204" pitchFamily="34" charset="0"/>
              </a:rPr>
              <a:t>Near-field</a:t>
            </a:r>
            <a:r>
              <a:rPr lang="en-US" sz="1000" b="0" i="0">
                <a:effectLst/>
                <a:latin typeface="Century Gothic" panose="020B0502020202020204" pitchFamily="34" charset="0"/>
              </a:rPr>
              <a:t> Optical Microscopy</a:t>
            </a:r>
            <a:r>
              <a:rPr lang="en-GB" sz="1000">
                <a:latin typeface="Century Gothic" panose="020B0502020202020204" pitchFamily="34" charset="0"/>
              </a:rPr>
              <a:t> </a:t>
            </a:r>
          </a:p>
        </p:txBody>
      </p:sp>
      <p:pic>
        <p:nvPicPr>
          <p:cNvPr id="57" name="Picture 19">
            <a:extLst>
              <a:ext uri="{FF2B5EF4-FFF2-40B4-BE49-F238E27FC236}">
                <a16:creationId xmlns:a16="http://schemas.microsoft.com/office/drawing/2014/main" id="{72AD99A3-4E40-5F32-1B1B-5138377AF94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260884" y="2143944"/>
            <a:ext cx="910406" cy="752373"/>
          </a:xfrm>
          <a:prstGeom prst="rect">
            <a:avLst/>
          </a:prstGeom>
        </p:spPr>
      </p:pic>
      <p:pic>
        <p:nvPicPr>
          <p:cNvPr id="58" name="Picture 9">
            <a:extLst>
              <a:ext uri="{FF2B5EF4-FFF2-40B4-BE49-F238E27FC236}">
                <a16:creationId xmlns:a16="http://schemas.microsoft.com/office/drawing/2014/main" id="{2E0BA63A-EFBF-3DDA-9F11-E57602DA082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619002" y="2051861"/>
            <a:ext cx="791962" cy="913802"/>
          </a:xfrm>
          <a:prstGeom prst="rect">
            <a:avLst/>
          </a:prstGeom>
        </p:spPr>
      </p:pic>
      <p:sp>
        <p:nvSpPr>
          <p:cNvPr id="59" name="Oval 1">
            <a:extLst>
              <a:ext uri="{FF2B5EF4-FFF2-40B4-BE49-F238E27FC236}">
                <a16:creationId xmlns:a16="http://schemas.microsoft.com/office/drawing/2014/main" id="{78E1CC06-71A5-03BD-D6FA-2BE04F7D99E1}"/>
              </a:ext>
            </a:extLst>
          </p:cNvPr>
          <p:cNvSpPr/>
          <p:nvPr/>
        </p:nvSpPr>
        <p:spPr>
          <a:xfrm>
            <a:off x="3145797" y="1441914"/>
            <a:ext cx="2465384" cy="280786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07742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963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9" imgH="330" progId="TCLayout.ActiveDocument.1">
                  <p:embed/>
                </p:oleObj>
              </mc:Choice>
              <mc:Fallback>
                <p:oleObj name="think-cell Folie" r:id="rId3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3200" dirty="0"/>
              <a:t>Active in all Compound Semiconductors Markets</a:t>
            </a:r>
            <a:endParaRPr lang="en-US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5129402-D085-CD72-48BE-04C2454EBE3F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4</a:t>
            </a:fld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E7471C-36EA-ADFE-3F5A-9F6E9AC2A25D}"/>
              </a:ext>
            </a:extLst>
          </p:cNvPr>
          <p:cNvSpPr/>
          <p:nvPr/>
        </p:nvSpPr>
        <p:spPr>
          <a:xfrm>
            <a:off x="5256788" y="1820044"/>
            <a:ext cx="1605905" cy="12737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4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1" name="Gruppieren 5">
            <a:extLst>
              <a:ext uri="{FF2B5EF4-FFF2-40B4-BE49-F238E27FC236}">
                <a16:creationId xmlns:a16="http://schemas.microsoft.com/office/drawing/2014/main" id="{F2E651FE-58FB-DAE0-5E45-51D98CDE9889}"/>
              </a:ext>
            </a:extLst>
          </p:cNvPr>
          <p:cNvGrpSpPr/>
          <p:nvPr/>
        </p:nvGrpSpPr>
        <p:grpSpPr>
          <a:xfrm>
            <a:off x="330628" y="3354132"/>
            <a:ext cx="11108584" cy="2280657"/>
            <a:chOff x="330628" y="1344305"/>
            <a:chExt cx="11692690" cy="2400577"/>
          </a:xfrm>
        </p:grpSpPr>
        <p:pic>
          <p:nvPicPr>
            <p:cNvPr id="60" name="Content Placeholder 9" descr="Diagram, engineering drawing&#10;&#10;Description automatically generated">
              <a:extLst>
                <a:ext uri="{FF2B5EF4-FFF2-40B4-BE49-F238E27FC236}">
                  <a16:creationId xmlns:a16="http://schemas.microsoft.com/office/drawing/2014/main" id="{E6EEE8DB-DB5F-F9BC-1FE2-FA4AADC513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71585" y="1344305"/>
              <a:ext cx="3782335" cy="2400577"/>
            </a:xfrm>
            <a:prstGeom prst="rect">
              <a:avLst/>
            </a:prstGeom>
          </p:spPr>
        </p:pic>
        <p:pic>
          <p:nvPicPr>
            <p:cNvPr id="61" name="Picture 2" descr="193 Mobile Phone Base Station Illustrations &amp;amp; Clip Art - iStock">
              <a:extLst>
                <a:ext uri="{FF2B5EF4-FFF2-40B4-BE49-F238E27FC236}">
                  <a16:creationId xmlns:a16="http://schemas.microsoft.com/office/drawing/2014/main" id="{F9A7D796-1A86-7DDE-3973-038C6E4990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35303" y="1774468"/>
              <a:ext cx="788015" cy="7880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" descr="193 Mobile Phone Base Station Illustrations &amp;amp; Clip Art - iStock">
              <a:extLst>
                <a:ext uri="{FF2B5EF4-FFF2-40B4-BE49-F238E27FC236}">
                  <a16:creationId xmlns:a16="http://schemas.microsoft.com/office/drawing/2014/main" id="{C6A37A34-B2B4-3255-63D6-408B1BF285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9098" y="1756579"/>
              <a:ext cx="788015" cy="7880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Content Placeholder 9">
              <a:extLst>
                <a:ext uri="{FF2B5EF4-FFF2-40B4-BE49-F238E27FC236}">
                  <a16:creationId xmlns:a16="http://schemas.microsoft.com/office/drawing/2014/main" id="{5204B71C-27BF-4564-1BE7-B1D849D88A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0628" y="1344305"/>
              <a:ext cx="3892632" cy="2300885"/>
            </a:xfrm>
            <a:prstGeom prst="rect">
              <a:avLst/>
            </a:prstGeom>
          </p:spPr>
        </p:pic>
        <p:pic>
          <p:nvPicPr>
            <p:cNvPr id="64" name="Picture 2" descr="193 Mobile Phone Base Station Illustrations &amp;amp; Clip Art - iStock">
              <a:extLst>
                <a:ext uri="{FF2B5EF4-FFF2-40B4-BE49-F238E27FC236}">
                  <a16:creationId xmlns:a16="http://schemas.microsoft.com/office/drawing/2014/main" id="{A6A1439D-6ACE-9CDF-4EFA-05B97CBE81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0042" y="1907008"/>
              <a:ext cx="892772" cy="8927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Freihandform: Form 3">
              <a:extLst>
                <a:ext uri="{FF2B5EF4-FFF2-40B4-BE49-F238E27FC236}">
                  <a16:creationId xmlns:a16="http://schemas.microsoft.com/office/drawing/2014/main" id="{AE074785-6343-32A8-F418-CAD7AE963E2F}"/>
                </a:ext>
              </a:extLst>
            </p:cNvPr>
            <p:cNvSpPr/>
            <p:nvPr/>
          </p:nvSpPr>
          <p:spPr>
            <a:xfrm>
              <a:off x="4509856" y="2218887"/>
              <a:ext cx="3361729" cy="435536"/>
            </a:xfrm>
            <a:custGeom>
              <a:avLst/>
              <a:gdLst>
                <a:gd name="connsiteX0" fmla="*/ 0 w 3932808"/>
                <a:gd name="connsiteY0" fmla="*/ 551720 h 551720"/>
                <a:gd name="connsiteX1" fmla="*/ 1846555 w 3932808"/>
                <a:gd name="connsiteY1" fmla="*/ 10182 h 551720"/>
                <a:gd name="connsiteX2" fmla="*/ 3932808 w 3932808"/>
                <a:gd name="connsiteY2" fmla="*/ 249879 h 55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2808" h="551720">
                  <a:moveTo>
                    <a:pt x="0" y="551720"/>
                  </a:moveTo>
                  <a:cubicBezTo>
                    <a:pt x="595543" y="306104"/>
                    <a:pt x="1191087" y="60489"/>
                    <a:pt x="1846555" y="10182"/>
                  </a:cubicBezTo>
                  <a:cubicBezTo>
                    <a:pt x="2502023" y="-40125"/>
                    <a:pt x="3217415" y="104877"/>
                    <a:pt x="3932808" y="249879"/>
                  </a:cubicBezTo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entury Gothic" panose="020B0502020202020204" pitchFamily="34" charset="0"/>
              </a:endParaRPr>
            </a:p>
          </p:txBody>
        </p:sp>
        <p:sp>
          <p:nvSpPr>
            <p:cNvPr id="66" name="Freihandform: Form 70">
              <a:extLst>
                <a:ext uri="{FF2B5EF4-FFF2-40B4-BE49-F238E27FC236}">
                  <a16:creationId xmlns:a16="http://schemas.microsoft.com/office/drawing/2014/main" id="{33FB4B92-771E-9C5B-3688-A66B155EE8DA}"/>
                </a:ext>
              </a:extLst>
            </p:cNvPr>
            <p:cNvSpPr/>
            <p:nvPr/>
          </p:nvSpPr>
          <p:spPr>
            <a:xfrm>
              <a:off x="4507317" y="2146368"/>
              <a:ext cx="3364160" cy="507804"/>
            </a:xfrm>
            <a:custGeom>
              <a:avLst/>
              <a:gdLst>
                <a:gd name="connsiteX0" fmla="*/ 0 w 3932808"/>
                <a:gd name="connsiteY0" fmla="*/ 551720 h 551720"/>
                <a:gd name="connsiteX1" fmla="*/ 1846555 w 3932808"/>
                <a:gd name="connsiteY1" fmla="*/ 10182 h 551720"/>
                <a:gd name="connsiteX2" fmla="*/ 3932808 w 3932808"/>
                <a:gd name="connsiteY2" fmla="*/ 249879 h 551720"/>
                <a:gd name="connsiteX0" fmla="*/ 0 w 3935652"/>
                <a:gd name="connsiteY0" fmla="*/ 643266 h 643266"/>
                <a:gd name="connsiteX1" fmla="*/ 1849399 w 3935652"/>
                <a:gd name="connsiteY1" fmla="*/ 14854 h 643266"/>
                <a:gd name="connsiteX2" fmla="*/ 3935652 w 3935652"/>
                <a:gd name="connsiteY2" fmla="*/ 254551 h 643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5652" h="643266">
                  <a:moveTo>
                    <a:pt x="0" y="643266"/>
                  </a:moveTo>
                  <a:cubicBezTo>
                    <a:pt x="595543" y="397650"/>
                    <a:pt x="1193457" y="79640"/>
                    <a:pt x="1849399" y="14854"/>
                  </a:cubicBezTo>
                  <a:cubicBezTo>
                    <a:pt x="2505341" y="-49932"/>
                    <a:pt x="3220259" y="109549"/>
                    <a:pt x="3935652" y="254551"/>
                  </a:cubicBezTo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entury Gothic" panose="020B0502020202020204" pitchFamily="34" charset="0"/>
              </a:endParaRPr>
            </a:p>
          </p:txBody>
        </p:sp>
        <p:sp>
          <p:nvSpPr>
            <p:cNvPr id="67" name="Freihandform: Form 142">
              <a:extLst>
                <a:ext uri="{FF2B5EF4-FFF2-40B4-BE49-F238E27FC236}">
                  <a16:creationId xmlns:a16="http://schemas.microsoft.com/office/drawing/2014/main" id="{81A35EB0-EA01-7FF1-E8E6-3430066EB419}"/>
                </a:ext>
              </a:extLst>
            </p:cNvPr>
            <p:cNvSpPr/>
            <p:nvPr/>
          </p:nvSpPr>
          <p:spPr>
            <a:xfrm>
              <a:off x="4495286" y="2047680"/>
              <a:ext cx="3376191" cy="605408"/>
            </a:xfrm>
            <a:custGeom>
              <a:avLst/>
              <a:gdLst>
                <a:gd name="connsiteX0" fmla="*/ 0 w 3932808"/>
                <a:gd name="connsiteY0" fmla="*/ 551720 h 551720"/>
                <a:gd name="connsiteX1" fmla="*/ 1846555 w 3932808"/>
                <a:gd name="connsiteY1" fmla="*/ 10182 h 551720"/>
                <a:gd name="connsiteX2" fmla="*/ 3932808 w 3932808"/>
                <a:gd name="connsiteY2" fmla="*/ 249879 h 551720"/>
                <a:gd name="connsiteX0" fmla="*/ 0 w 3935652"/>
                <a:gd name="connsiteY0" fmla="*/ 643266 h 643266"/>
                <a:gd name="connsiteX1" fmla="*/ 1849399 w 3935652"/>
                <a:gd name="connsiteY1" fmla="*/ 14854 h 643266"/>
                <a:gd name="connsiteX2" fmla="*/ 3935652 w 3935652"/>
                <a:gd name="connsiteY2" fmla="*/ 254551 h 643266"/>
                <a:gd name="connsiteX0" fmla="*/ 0 w 3949727"/>
                <a:gd name="connsiteY0" fmla="*/ 766907 h 766907"/>
                <a:gd name="connsiteX1" fmla="*/ 1863474 w 3949727"/>
                <a:gd name="connsiteY1" fmla="*/ 21652 h 766907"/>
                <a:gd name="connsiteX2" fmla="*/ 3949727 w 3949727"/>
                <a:gd name="connsiteY2" fmla="*/ 261349 h 766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49727" h="766907">
                  <a:moveTo>
                    <a:pt x="0" y="766907"/>
                  </a:moveTo>
                  <a:cubicBezTo>
                    <a:pt x="595543" y="521291"/>
                    <a:pt x="1205186" y="105912"/>
                    <a:pt x="1863474" y="21652"/>
                  </a:cubicBezTo>
                  <a:cubicBezTo>
                    <a:pt x="2521762" y="-62608"/>
                    <a:pt x="3234334" y="116347"/>
                    <a:pt x="3949727" y="261349"/>
                  </a:cubicBezTo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entury Gothic" panose="020B0502020202020204" pitchFamily="34" charset="0"/>
              </a:endParaRPr>
            </a:p>
          </p:txBody>
        </p:sp>
      </p:grpSp>
      <p:sp>
        <p:nvSpPr>
          <p:cNvPr id="68" name="Textfeld 113">
            <a:extLst>
              <a:ext uri="{FF2B5EF4-FFF2-40B4-BE49-F238E27FC236}">
                <a16:creationId xmlns:a16="http://schemas.microsoft.com/office/drawing/2014/main" id="{533FC75C-59A1-6336-A815-9B421D52F91B}"/>
              </a:ext>
            </a:extLst>
          </p:cNvPr>
          <p:cNvSpPr txBox="1"/>
          <p:nvPr/>
        </p:nvSpPr>
        <p:spPr>
          <a:xfrm>
            <a:off x="2979934" y="4712388"/>
            <a:ext cx="16225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err="1">
                <a:solidFill>
                  <a:schemeClr val="accent2"/>
                </a:solidFill>
                <a:latin typeface="Century Gothic" panose="020B0502020202020204" pitchFamily="34" charset="0"/>
              </a:rPr>
              <a:t>GaN</a:t>
            </a:r>
            <a:r>
              <a:rPr lang="en-GB" sz="1600" b="1">
                <a:solidFill>
                  <a:schemeClr val="accent2"/>
                </a:solidFill>
                <a:latin typeface="Century Gothic" panose="020B0502020202020204" pitchFamily="34" charset="0"/>
              </a:rPr>
              <a:t> Power/RF</a:t>
            </a:r>
          </a:p>
        </p:txBody>
      </p:sp>
      <p:sp>
        <p:nvSpPr>
          <p:cNvPr id="69" name="Textfeld 114">
            <a:extLst>
              <a:ext uri="{FF2B5EF4-FFF2-40B4-BE49-F238E27FC236}">
                <a16:creationId xmlns:a16="http://schemas.microsoft.com/office/drawing/2014/main" id="{AE8C6844-DE43-1CA8-7B8B-65BC92B6AF68}"/>
              </a:ext>
            </a:extLst>
          </p:cNvPr>
          <p:cNvSpPr txBox="1"/>
          <p:nvPr/>
        </p:nvSpPr>
        <p:spPr>
          <a:xfrm>
            <a:off x="5729902" y="4712206"/>
            <a:ext cx="11176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Datacom</a:t>
            </a:r>
          </a:p>
        </p:txBody>
      </p:sp>
      <p:sp>
        <p:nvSpPr>
          <p:cNvPr id="70" name="Textfeld 7">
            <a:extLst>
              <a:ext uri="{FF2B5EF4-FFF2-40B4-BE49-F238E27FC236}">
                <a16:creationId xmlns:a16="http://schemas.microsoft.com/office/drawing/2014/main" id="{A15E79E2-072D-0AB2-80C0-58C76C715685}"/>
              </a:ext>
            </a:extLst>
          </p:cNvPr>
          <p:cNvSpPr txBox="1"/>
          <p:nvPr/>
        </p:nvSpPr>
        <p:spPr>
          <a:xfrm>
            <a:off x="321928" y="1470428"/>
            <a:ext cx="11673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err="1">
                <a:solidFill>
                  <a:schemeClr val="accent2"/>
                </a:solidFill>
                <a:latin typeface="Century Gothic" panose="020B0502020202020204" pitchFamily="34" charset="0"/>
              </a:rPr>
              <a:t>SiC</a:t>
            </a:r>
            <a:r>
              <a:rPr lang="en-US" sz="1600" b="1">
                <a:solidFill>
                  <a:schemeClr val="accent2"/>
                </a:solidFill>
                <a:latin typeface="Century Gothic" panose="020B0502020202020204" pitchFamily="34" charset="0"/>
              </a:rPr>
              <a:t> Power</a:t>
            </a:r>
          </a:p>
        </p:txBody>
      </p:sp>
      <p:sp>
        <p:nvSpPr>
          <p:cNvPr id="71" name="Textfeld 110">
            <a:extLst>
              <a:ext uri="{FF2B5EF4-FFF2-40B4-BE49-F238E27FC236}">
                <a16:creationId xmlns:a16="http://schemas.microsoft.com/office/drawing/2014/main" id="{5CD0AEC9-2CEE-B8AF-C253-E87CA07DE50E}"/>
              </a:ext>
            </a:extLst>
          </p:cNvPr>
          <p:cNvSpPr txBox="1"/>
          <p:nvPr/>
        </p:nvSpPr>
        <p:spPr>
          <a:xfrm>
            <a:off x="2793526" y="1487528"/>
            <a:ext cx="11176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>
                <a:solidFill>
                  <a:schemeClr val="accent2"/>
                </a:solidFill>
                <a:latin typeface="Century Gothic" panose="020B0502020202020204" pitchFamily="34" charset="0"/>
              </a:rPr>
              <a:t>Quantum</a:t>
            </a:r>
          </a:p>
        </p:txBody>
      </p:sp>
      <p:sp>
        <p:nvSpPr>
          <p:cNvPr id="72" name="Textfeld 111">
            <a:extLst>
              <a:ext uri="{FF2B5EF4-FFF2-40B4-BE49-F238E27FC236}">
                <a16:creationId xmlns:a16="http://schemas.microsoft.com/office/drawing/2014/main" id="{10ED62DA-9ABD-C6F5-21AE-CBC01001C585}"/>
              </a:ext>
            </a:extLst>
          </p:cNvPr>
          <p:cNvSpPr txBox="1"/>
          <p:nvPr/>
        </p:nvSpPr>
        <p:spPr>
          <a:xfrm>
            <a:off x="7009203" y="1487528"/>
            <a:ext cx="20457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>
                <a:solidFill>
                  <a:schemeClr val="accent2"/>
                </a:solidFill>
                <a:latin typeface="Century Gothic" panose="020B0502020202020204" pitchFamily="34" charset="0"/>
              </a:rPr>
              <a:t>Augmented Realty</a:t>
            </a:r>
          </a:p>
        </p:txBody>
      </p:sp>
      <p:sp>
        <p:nvSpPr>
          <p:cNvPr id="73" name="Textfeld 112">
            <a:extLst>
              <a:ext uri="{FF2B5EF4-FFF2-40B4-BE49-F238E27FC236}">
                <a16:creationId xmlns:a16="http://schemas.microsoft.com/office/drawing/2014/main" id="{993B8BE8-BA92-45A8-1E65-0EA135CBB2E1}"/>
              </a:ext>
            </a:extLst>
          </p:cNvPr>
          <p:cNvSpPr txBox="1"/>
          <p:nvPr/>
        </p:nvSpPr>
        <p:spPr>
          <a:xfrm>
            <a:off x="9526012" y="1487528"/>
            <a:ext cx="1263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>
                <a:solidFill>
                  <a:schemeClr val="accent2"/>
                </a:solidFill>
                <a:latin typeface="Century Gothic" panose="020B0502020202020204" pitchFamily="34" charset="0"/>
              </a:rPr>
              <a:t>3D Sensing</a:t>
            </a:r>
          </a:p>
        </p:txBody>
      </p:sp>
      <p:sp>
        <p:nvSpPr>
          <p:cNvPr id="74" name="Rectangle 1">
            <a:extLst>
              <a:ext uri="{FF2B5EF4-FFF2-40B4-BE49-F238E27FC236}">
                <a16:creationId xmlns:a16="http://schemas.microsoft.com/office/drawing/2014/main" id="{0FA0D7A1-EF92-53DD-A3C8-0DEC7A5BEB41}"/>
              </a:ext>
            </a:extLst>
          </p:cNvPr>
          <p:cNvSpPr/>
          <p:nvPr/>
        </p:nvSpPr>
        <p:spPr>
          <a:xfrm>
            <a:off x="2833863" y="1815114"/>
            <a:ext cx="2436627" cy="12737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>
                <a:solidFill>
                  <a:schemeClr val="tx1"/>
                </a:solidFill>
                <a:latin typeface="Century Gothic" panose="020B0502020202020204" pitchFamily="34" charset="0"/>
              </a:rPr>
              <a:t>Quantum technology solves complex problems such as traffic flow and enables secure communications</a:t>
            </a:r>
          </a:p>
        </p:txBody>
      </p:sp>
      <p:pic>
        <p:nvPicPr>
          <p:cNvPr id="75" name="Content Placeholder 8" descr="Diagram&#10;&#10;Description automatically generated">
            <a:extLst>
              <a:ext uri="{FF2B5EF4-FFF2-40B4-BE49-F238E27FC236}">
                <a16:creationId xmlns:a16="http://schemas.microsoft.com/office/drawing/2014/main" id="{CE0DF8FA-93F6-EE7A-5E8A-6C7C9E8554D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DCDCE5"/>
              </a:clrFrom>
              <a:clrTo>
                <a:srgbClr val="DCDCE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2968" y="1894232"/>
            <a:ext cx="2111684" cy="899797"/>
          </a:xfrm>
          <a:prstGeom prst="rect">
            <a:avLst/>
          </a:prstGeom>
        </p:spPr>
      </p:pic>
      <p:sp>
        <p:nvSpPr>
          <p:cNvPr id="76" name="Rectangle 1">
            <a:extLst>
              <a:ext uri="{FF2B5EF4-FFF2-40B4-BE49-F238E27FC236}">
                <a16:creationId xmlns:a16="http://schemas.microsoft.com/office/drawing/2014/main" id="{1C850210-C037-FB9F-F3F3-908AF09FC691}"/>
              </a:ext>
            </a:extLst>
          </p:cNvPr>
          <p:cNvSpPr/>
          <p:nvPr/>
        </p:nvSpPr>
        <p:spPr>
          <a:xfrm>
            <a:off x="364028" y="1815114"/>
            <a:ext cx="2281289" cy="12737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err="1">
                <a:solidFill>
                  <a:schemeClr val="tx1"/>
                </a:solidFill>
                <a:latin typeface="Century Gothic" panose="020B0502020202020204" pitchFamily="34" charset="0"/>
              </a:rPr>
              <a:t>SiC</a:t>
            </a:r>
            <a:r>
              <a:rPr lang="en-GB" sz="1400">
                <a:solidFill>
                  <a:schemeClr val="tx1"/>
                </a:solidFill>
                <a:latin typeface="Century Gothic" panose="020B0502020202020204" pitchFamily="34" charset="0"/>
              </a:rPr>
              <a:t> devices enables more efficient power conversion in electric vehicles &amp; renewable energy.</a:t>
            </a:r>
          </a:p>
        </p:txBody>
      </p:sp>
      <p:sp>
        <p:nvSpPr>
          <p:cNvPr id="77" name="Rectangle 1">
            <a:extLst>
              <a:ext uri="{FF2B5EF4-FFF2-40B4-BE49-F238E27FC236}">
                <a16:creationId xmlns:a16="http://schemas.microsoft.com/office/drawing/2014/main" id="{897F6744-B603-2B36-F20A-ECA89E8B03AB}"/>
              </a:ext>
            </a:extLst>
          </p:cNvPr>
          <p:cNvSpPr/>
          <p:nvPr/>
        </p:nvSpPr>
        <p:spPr>
          <a:xfrm>
            <a:off x="7056179" y="1815114"/>
            <a:ext cx="2281289" cy="12737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Augmented reality has applications in </a:t>
            </a:r>
            <a:r>
              <a:rPr lang="en-GB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advan-ced</a:t>
            </a:r>
            <a:r>
              <a:rPr lang="en-GB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health care and consumer electronics.</a:t>
            </a:r>
          </a:p>
        </p:txBody>
      </p:sp>
      <p:sp>
        <p:nvSpPr>
          <p:cNvPr id="78" name="Rectangle 1">
            <a:extLst>
              <a:ext uri="{FF2B5EF4-FFF2-40B4-BE49-F238E27FC236}">
                <a16:creationId xmlns:a16="http://schemas.microsoft.com/office/drawing/2014/main" id="{116F76A5-8EDB-5203-CBFC-DF6E9A66659F}"/>
              </a:ext>
            </a:extLst>
          </p:cNvPr>
          <p:cNvSpPr/>
          <p:nvPr/>
        </p:nvSpPr>
        <p:spPr>
          <a:xfrm>
            <a:off x="9526012" y="1815114"/>
            <a:ext cx="2281289" cy="12737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>
                <a:solidFill>
                  <a:schemeClr val="tx1"/>
                </a:solidFill>
                <a:latin typeface="Century Gothic" panose="020B0502020202020204" pitchFamily="34" charset="0"/>
              </a:rPr>
              <a:t>3D sensing using GaAs based VCSELs enables autonomous machines, e.g. vehicles.</a:t>
            </a:r>
          </a:p>
        </p:txBody>
      </p:sp>
      <p:sp>
        <p:nvSpPr>
          <p:cNvPr id="79" name="Rectangle 1">
            <a:extLst>
              <a:ext uri="{FF2B5EF4-FFF2-40B4-BE49-F238E27FC236}">
                <a16:creationId xmlns:a16="http://schemas.microsoft.com/office/drawing/2014/main" id="{53CE0C43-0501-FAD1-819E-8BC7E35594A6}"/>
              </a:ext>
            </a:extLst>
          </p:cNvPr>
          <p:cNvSpPr/>
          <p:nvPr/>
        </p:nvSpPr>
        <p:spPr>
          <a:xfrm>
            <a:off x="3041849" y="5051341"/>
            <a:ext cx="2232348" cy="119890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err="1">
                <a:solidFill>
                  <a:schemeClr val="tx1"/>
                </a:solidFill>
                <a:latin typeface="Century Gothic" panose="020B0502020202020204" pitchFamily="34" charset="0"/>
              </a:rPr>
              <a:t>GaN</a:t>
            </a:r>
            <a:r>
              <a:rPr lang="en-GB" sz="1400">
                <a:solidFill>
                  <a:schemeClr val="tx1"/>
                </a:solidFill>
                <a:latin typeface="Century Gothic" panose="020B0502020202020204" pitchFamily="34" charset="0"/>
              </a:rPr>
              <a:t> devices for 5G/6G base stations and power efficient consumer electronics.</a:t>
            </a:r>
          </a:p>
        </p:txBody>
      </p:sp>
      <p:sp>
        <p:nvSpPr>
          <p:cNvPr id="80" name="Rectangle 1">
            <a:extLst>
              <a:ext uri="{FF2B5EF4-FFF2-40B4-BE49-F238E27FC236}">
                <a16:creationId xmlns:a16="http://schemas.microsoft.com/office/drawing/2014/main" id="{CE3BA192-B3D6-A091-B83A-9C04646295D4}"/>
              </a:ext>
            </a:extLst>
          </p:cNvPr>
          <p:cNvSpPr/>
          <p:nvPr/>
        </p:nvSpPr>
        <p:spPr>
          <a:xfrm>
            <a:off x="5750714" y="5044033"/>
            <a:ext cx="2363271" cy="119890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Next generation </a:t>
            </a:r>
            <a:r>
              <a:rPr lang="en-GB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InP</a:t>
            </a:r>
            <a:r>
              <a:rPr lang="en-GB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/ GaAs based lasers and receivers increase optical fibre data bandwidth.</a:t>
            </a:r>
          </a:p>
        </p:txBody>
      </p:sp>
      <p:grpSp>
        <p:nvGrpSpPr>
          <p:cNvPr id="81" name="Group 32">
            <a:extLst>
              <a:ext uri="{FF2B5EF4-FFF2-40B4-BE49-F238E27FC236}">
                <a16:creationId xmlns:a16="http://schemas.microsoft.com/office/drawing/2014/main" id="{22D0D947-1836-84C6-A1CC-8F4803CCF46B}"/>
              </a:ext>
            </a:extLst>
          </p:cNvPr>
          <p:cNvGrpSpPr/>
          <p:nvPr/>
        </p:nvGrpSpPr>
        <p:grpSpPr>
          <a:xfrm>
            <a:off x="337601" y="3193809"/>
            <a:ext cx="419351" cy="427996"/>
            <a:chOff x="337601" y="3193809"/>
            <a:chExt cx="419351" cy="427996"/>
          </a:xfrm>
        </p:grpSpPr>
        <p:sp>
          <p:nvSpPr>
            <p:cNvPr id="82" name="Oval 20">
              <a:extLst>
                <a:ext uri="{FF2B5EF4-FFF2-40B4-BE49-F238E27FC236}">
                  <a16:creationId xmlns:a16="http://schemas.microsoft.com/office/drawing/2014/main" id="{7FE9C85D-6535-A8FA-E819-DEF609A719C1}"/>
                </a:ext>
              </a:extLst>
            </p:cNvPr>
            <p:cNvSpPr/>
            <p:nvPr/>
          </p:nvSpPr>
          <p:spPr>
            <a:xfrm>
              <a:off x="338127" y="3193809"/>
              <a:ext cx="418825" cy="418825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entury Gothic" panose="020B0502020202020204" pitchFamily="34" charset="0"/>
              </a:endParaRPr>
            </a:p>
          </p:txBody>
        </p:sp>
        <p:pic>
          <p:nvPicPr>
            <p:cNvPr id="83" name="Graphic 21" descr="Electric car outline">
              <a:extLst>
                <a:ext uri="{FF2B5EF4-FFF2-40B4-BE49-F238E27FC236}">
                  <a16:creationId xmlns:a16="http://schemas.microsoft.com/office/drawing/2014/main" id="{9E6F4DC4-0EEC-83DD-B6C0-478918DE8D2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337601" y="3202980"/>
              <a:ext cx="418825" cy="418825"/>
            </a:xfrm>
            <a:prstGeom prst="rect">
              <a:avLst/>
            </a:prstGeom>
          </p:spPr>
        </p:pic>
      </p:grpSp>
      <p:grpSp>
        <p:nvGrpSpPr>
          <p:cNvPr id="84" name="Gruppieren 14">
            <a:extLst>
              <a:ext uri="{FF2B5EF4-FFF2-40B4-BE49-F238E27FC236}">
                <a16:creationId xmlns:a16="http://schemas.microsoft.com/office/drawing/2014/main" id="{CC8168E5-6DC8-F082-2631-BF8A24CD7EE9}"/>
              </a:ext>
            </a:extLst>
          </p:cNvPr>
          <p:cNvGrpSpPr/>
          <p:nvPr/>
        </p:nvGrpSpPr>
        <p:grpSpPr>
          <a:xfrm>
            <a:off x="3314503" y="3207426"/>
            <a:ext cx="418825" cy="418825"/>
            <a:chOff x="2851150" y="3234392"/>
            <a:chExt cx="418825" cy="418825"/>
          </a:xfrm>
        </p:grpSpPr>
        <p:sp>
          <p:nvSpPr>
            <p:cNvPr id="85" name="Oval 78">
              <a:extLst>
                <a:ext uri="{FF2B5EF4-FFF2-40B4-BE49-F238E27FC236}">
                  <a16:creationId xmlns:a16="http://schemas.microsoft.com/office/drawing/2014/main" id="{3E04BABF-9213-5BAE-CACC-34219F4F312B}"/>
                </a:ext>
              </a:extLst>
            </p:cNvPr>
            <p:cNvSpPr/>
            <p:nvPr/>
          </p:nvSpPr>
          <p:spPr>
            <a:xfrm>
              <a:off x="2851150" y="3234392"/>
              <a:ext cx="418825" cy="418825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entury Gothic" panose="020B0502020202020204" pitchFamily="34" charset="0"/>
              </a:endParaRPr>
            </a:p>
          </p:txBody>
        </p:sp>
        <p:pic>
          <p:nvPicPr>
            <p:cNvPr id="86" name="Graphic 79" descr="Eye Scan outline">
              <a:extLst>
                <a:ext uri="{FF2B5EF4-FFF2-40B4-BE49-F238E27FC236}">
                  <a16:creationId xmlns:a16="http://schemas.microsoft.com/office/drawing/2014/main" id="{48C0824F-E766-8214-4747-0510C1BF4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879924" y="3270379"/>
              <a:ext cx="360000" cy="360000"/>
            </a:xfrm>
            <a:prstGeom prst="rect">
              <a:avLst/>
            </a:prstGeom>
          </p:spPr>
        </p:pic>
      </p:grpSp>
      <p:grpSp>
        <p:nvGrpSpPr>
          <p:cNvPr id="87" name="Gruppieren 13">
            <a:extLst>
              <a:ext uri="{FF2B5EF4-FFF2-40B4-BE49-F238E27FC236}">
                <a16:creationId xmlns:a16="http://schemas.microsoft.com/office/drawing/2014/main" id="{C2A6AC69-276A-67CE-E86E-4F833E31B446}"/>
              </a:ext>
            </a:extLst>
          </p:cNvPr>
          <p:cNvGrpSpPr/>
          <p:nvPr/>
        </p:nvGrpSpPr>
        <p:grpSpPr>
          <a:xfrm>
            <a:off x="2170442" y="3207426"/>
            <a:ext cx="418825" cy="418825"/>
            <a:chOff x="2151902" y="3245271"/>
            <a:chExt cx="418825" cy="418825"/>
          </a:xfrm>
        </p:grpSpPr>
        <p:sp>
          <p:nvSpPr>
            <p:cNvPr id="88" name="Oval 84">
              <a:extLst>
                <a:ext uri="{FF2B5EF4-FFF2-40B4-BE49-F238E27FC236}">
                  <a16:creationId xmlns:a16="http://schemas.microsoft.com/office/drawing/2014/main" id="{87FE8F90-74C0-4E62-4DF3-462710B73A89}"/>
                </a:ext>
              </a:extLst>
            </p:cNvPr>
            <p:cNvSpPr/>
            <p:nvPr/>
          </p:nvSpPr>
          <p:spPr>
            <a:xfrm>
              <a:off x="2151902" y="3245271"/>
              <a:ext cx="418825" cy="418825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entury Gothic" panose="020B0502020202020204" pitchFamily="34" charset="0"/>
              </a:endParaRPr>
            </a:p>
          </p:txBody>
        </p:sp>
        <p:pic>
          <p:nvPicPr>
            <p:cNvPr id="89" name="Graphic 85" descr="Renewable Energy outline">
              <a:extLst>
                <a:ext uri="{FF2B5EF4-FFF2-40B4-BE49-F238E27FC236}">
                  <a16:creationId xmlns:a16="http://schemas.microsoft.com/office/drawing/2014/main" id="{A654E19C-9821-B3EE-709F-67A7C8C6CE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162182" y="3257217"/>
              <a:ext cx="405208" cy="405208"/>
            </a:xfrm>
            <a:prstGeom prst="rect">
              <a:avLst/>
            </a:prstGeom>
          </p:spPr>
        </p:pic>
      </p:grpSp>
      <p:grpSp>
        <p:nvGrpSpPr>
          <p:cNvPr id="90" name="Gruppieren 139">
            <a:extLst>
              <a:ext uri="{FF2B5EF4-FFF2-40B4-BE49-F238E27FC236}">
                <a16:creationId xmlns:a16="http://schemas.microsoft.com/office/drawing/2014/main" id="{FC664CE6-84EB-532D-11FC-271A37AA5D5C}"/>
              </a:ext>
            </a:extLst>
          </p:cNvPr>
          <p:cNvGrpSpPr/>
          <p:nvPr/>
        </p:nvGrpSpPr>
        <p:grpSpPr>
          <a:xfrm>
            <a:off x="6850269" y="4010796"/>
            <a:ext cx="418825" cy="418825"/>
            <a:chOff x="6470127" y="4574072"/>
            <a:chExt cx="418825" cy="418825"/>
          </a:xfrm>
        </p:grpSpPr>
        <p:sp>
          <p:nvSpPr>
            <p:cNvPr id="91" name="Oval 82">
              <a:extLst>
                <a:ext uri="{FF2B5EF4-FFF2-40B4-BE49-F238E27FC236}">
                  <a16:creationId xmlns:a16="http://schemas.microsoft.com/office/drawing/2014/main" id="{B001FC33-E422-8848-EAA6-91F3922D5007}"/>
                </a:ext>
              </a:extLst>
            </p:cNvPr>
            <p:cNvSpPr/>
            <p:nvPr/>
          </p:nvSpPr>
          <p:spPr>
            <a:xfrm>
              <a:off x="6470127" y="4574072"/>
              <a:ext cx="418825" cy="418825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entury Gothic" panose="020B0502020202020204" pitchFamily="34" charset="0"/>
              </a:endParaRPr>
            </a:p>
          </p:txBody>
        </p:sp>
        <p:pic>
          <p:nvPicPr>
            <p:cNvPr id="92" name="Graphic 83" descr="Cloud Computing outline">
              <a:extLst>
                <a:ext uri="{FF2B5EF4-FFF2-40B4-BE49-F238E27FC236}">
                  <a16:creationId xmlns:a16="http://schemas.microsoft.com/office/drawing/2014/main" id="{CC61A346-82F4-9B05-2625-2523D5014C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499540" y="4619706"/>
              <a:ext cx="360000" cy="360000"/>
            </a:xfrm>
            <a:prstGeom prst="rect">
              <a:avLst/>
            </a:prstGeom>
          </p:spPr>
        </p:pic>
      </p:grpSp>
      <p:grpSp>
        <p:nvGrpSpPr>
          <p:cNvPr id="93" name="Gruppieren 143">
            <a:extLst>
              <a:ext uri="{FF2B5EF4-FFF2-40B4-BE49-F238E27FC236}">
                <a16:creationId xmlns:a16="http://schemas.microsoft.com/office/drawing/2014/main" id="{34D6F17A-12C0-0661-EB4E-2F7A01119A1E}"/>
              </a:ext>
            </a:extLst>
          </p:cNvPr>
          <p:cNvGrpSpPr/>
          <p:nvPr/>
        </p:nvGrpSpPr>
        <p:grpSpPr>
          <a:xfrm>
            <a:off x="6437363" y="3212564"/>
            <a:ext cx="429526" cy="435087"/>
            <a:chOff x="6365206" y="3373632"/>
            <a:chExt cx="429526" cy="435087"/>
          </a:xfrm>
        </p:grpSpPr>
        <p:sp>
          <p:nvSpPr>
            <p:cNvPr id="94" name="Oval 80">
              <a:extLst>
                <a:ext uri="{FF2B5EF4-FFF2-40B4-BE49-F238E27FC236}">
                  <a16:creationId xmlns:a16="http://schemas.microsoft.com/office/drawing/2014/main" id="{E1DA98C2-49A5-EEF9-D308-954F853C4C27}"/>
                </a:ext>
              </a:extLst>
            </p:cNvPr>
            <p:cNvSpPr/>
            <p:nvPr/>
          </p:nvSpPr>
          <p:spPr>
            <a:xfrm>
              <a:off x="6375907" y="3373632"/>
              <a:ext cx="418825" cy="418825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entury Gothic" panose="020B0502020202020204" pitchFamily="34" charset="0"/>
              </a:endParaRPr>
            </a:p>
          </p:txBody>
        </p:sp>
        <p:pic>
          <p:nvPicPr>
            <p:cNvPr id="95" name="Graphic 81" descr="Traffic light outline">
              <a:extLst>
                <a:ext uri="{FF2B5EF4-FFF2-40B4-BE49-F238E27FC236}">
                  <a16:creationId xmlns:a16="http://schemas.microsoft.com/office/drawing/2014/main" id="{3836E5F0-D3B0-02BA-BCEA-1666889A16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/>
          </p:blipFill>
          <p:spPr>
            <a:xfrm>
              <a:off x="6365206" y="3389894"/>
              <a:ext cx="418826" cy="418825"/>
            </a:xfrm>
            <a:prstGeom prst="rect">
              <a:avLst/>
            </a:prstGeom>
          </p:spPr>
        </p:pic>
      </p:grpSp>
      <p:cxnSp>
        <p:nvCxnSpPr>
          <p:cNvPr id="96" name="Connector: Elbow 91">
            <a:extLst>
              <a:ext uri="{FF2B5EF4-FFF2-40B4-BE49-F238E27FC236}">
                <a16:creationId xmlns:a16="http://schemas.microsoft.com/office/drawing/2014/main" id="{E14BCC9B-04CA-6B41-BFC9-D14E60423A4C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184543" y="3298381"/>
            <a:ext cx="1050226" cy="627275"/>
          </a:xfrm>
          <a:prstGeom prst="bentConnector3">
            <a:avLst>
              <a:gd name="adj1" fmla="val 75674"/>
            </a:avLst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89">
            <a:extLst>
              <a:ext uri="{FF2B5EF4-FFF2-40B4-BE49-F238E27FC236}">
                <a16:creationId xmlns:a16="http://schemas.microsoft.com/office/drawing/2014/main" id="{1E55BC9D-7827-CC41-CBEC-F480DD71E04B}"/>
              </a:ext>
            </a:extLst>
          </p:cNvPr>
          <p:cNvCxnSpPr>
            <a:cxnSpLocks/>
          </p:cNvCxnSpPr>
          <p:nvPr/>
        </p:nvCxnSpPr>
        <p:spPr>
          <a:xfrm rot="10800000">
            <a:off x="6873942" y="3359951"/>
            <a:ext cx="2216253" cy="454415"/>
          </a:xfrm>
          <a:prstGeom prst="bentConnector3">
            <a:avLst>
              <a:gd name="adj1" fmla="val 260"/>
            </a:avLst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89">
            <a:extLst>
              <a:ext uri="{FF2B5EF4-FFF2-40B4-BE49-F238E27FC236}">
                <a16:creationId xmlns:a16="http://schemas.microsoft.com/office/drawing/2014/main" id="{9D7373E1-98FF-3922-934D-D69C0044B8F8}"/>
              </a:ext>
            </a:extLst>
          </p:cNvPr>
          <p:cNvCxnSpPr>
            <a:cxnSpLocks/>
          </p:cNvCxnSpPr>
          <p:nvPr/>
        </p:nvCxnSpPr>
        <p:spPr>
          <a:xfrm rot="10800000">
            <a:off x="3736093" y="3397346"/>
            <a:ext cx="1140648" cy="920179"/>
          </a:xfrm>
          <a:prstGeom prst="bentConnector3">
            <a:avLst>
              <a:gd name="adj1" fmla="val 967"/>
            </a:avLst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89">
            <a:extLst>
              <a:ext uri="{FF2B5EF4-FFF2-40B4-BE49-F238E27FC236}">
                <a16:creationId xmlns:a16="http://schemas.microsoft.com/office/drawing/2014/main" id="{5827302F-73DC-5AFC-9029-DC514F01D704}"/>
              </a:ext>
            </a:extLst>
          </p:cNvPr>
          <p:cNvCxnSpPr>
            <a:cxnSpLocks/>
          </p:cNvCxnSpPr>
          <p:nvPr/>
        </p:nvCxnSpPr>
        <p:spPr>
          <a:xfrm rot="16200000" flipV="1">
            <a:off x="593449" y="3576157"/>
            <a:ext cx="822861" cy="465242"/>
          </a:xfrm>
          <a:prstGeom prst="bentConnector3">
            <a:avLst>
              <a:gd name="adj1" fmla="val 101830"/>
            </a:avLst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Connector: Elbow 89">
            <a:extLst>
              <a:ext uri="{FF2B5EF4-FFF2-40B4-BE49-F238E27FC236}">
                <a16:creationId xmlns:a16="http://schemas.microsoft.com/office/drawing/2014/main" id="{D419A98C-754A-45E1-8609-7627DEADEF9C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860905" y="3434941"/>
            <a:ext cx="327638" cy="291435"/>
          </a:xfrm>
          <a:prstGeom prst="bentConnector2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or: Elbow 89">
            <a:extLst>
              <a:ext uri="{FF2B5EF4-FFF2-40B4-BE49-F238E27FC236}">
                <a16:creationId xmlns:a16="http://schemas.microsoft.com/office/drawing/2014/main" id="{43E7B5D1-9B96-E26C-FF04-ABF056377D1A}"/>
              </a:ext>
            </a:extLst>
          </p:cNvPr>
          <p:cNvCxnSpPr>
            <a:cxnSpLocks/>
            <a:stCxn id="106" idx="1"/>
          </p:cNvCxnSpPr>
          <p:nvPr/>
        </p:nvCxnSpPr>
        <p:spPr>
          <a:xfrm rot="10800000">
            <a:off x="4531536" y="4624359"/>
            <a:ext cx="276538" cy="26024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Group 53">
            <a:extLst>
              <a:ext uri="{FF2B5EF4-FFF2-40B4-BE49-F238E27FC236}">
                <a16:creationId xmlns:a16="http://schemas.microsoft.com/office/drawing/2014/main" id="{906303EA-6FD0-8811-7F56-D99F9443724D}"/>
              </a:ext>
            </a:extLst>
          </p:cNvPr>
          <p:cNvGrpSpPr/>
          <p:nvPr/>
        </p:nvGrpSpPr>
        <p:grpSpPr>
          <a:xfrm>
            <a:off x="4781133" y="4598933"/>
            <a:ext cx="418825" cy="418825"/>
            <a:chOff x="8603427" y="5445849"/>
            <a:chExt cx="418825" cy="418825"/>
          </a:xfrm>
        </p:grpSpPr>
        <p:sp>
          <p:nvSpPr>
            <p:cNvPr id="103" name="Oval 54">
              <a:extLst>
                <a:ext uri="{FF2B5EF4-FFF2-40B4-BE49-F238E27FC236}">
                  <a16:creationId xmlns:a16="http://schemas.microsoft.com/office/drawing/2014/main" id="{CCB3A171-3D76-BCFE-EFAC-0B96CD48DABC}"/>
                </a:ext>
              </a:extLst>
            </p:cNvPr>
            <p:cNvSpPr/>
            <p:nvPr/>
          </p:nvSpPr>
          <p:spPr>
            <a:xfrm>
              <a:off x="8603427" y="5445849"/>
              <a:ext cx="418825" cy="418825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entury Gothic" panose="020B0502020202020204" pitchFamily="34" charset="0"/>
              </a:endParaRPr>
            </a:p>
          </p:txBody>
        </p:sp>
        <p:sp>
          <p:nvSpPr>
            <p:cNvPr id="104" name="Ellipse 160">
              <a:extLst>
                <a:ext uri="{FF2B5EF4-FFF2-40B4-BE49-F238E27FC236}">
                  <a16:creationId xmlns:a16="http://schemas.microsoft.com/office/drawing/2014/main" id="{5BB0B20C-7197-7260-B297-71332B6C5042}"/>
                </a:ext>
              </a:extLst>
            </p:cNvPr>
            <p:cNvSpPr/>
            <p:nvPr/>
          </p:nvSpPr>
          <p:spPr>
            <a:xfrm>
              <a:off x="8624702" y="5463659"/>
              <a:ext cx="378882" cy="38594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Century Gothic" panose="020B0502020202020204" pitchFamily="34" charset="0"/>
              </a:endParaRPr>
            </a:p>
          </p:txBody>
        </p:sp>
        <p:grpSp>
          <p:nvGrpSpPr>
            <p:cNvPr id="105" name="Gruppieren 164">
              <a:extLst>
                <a:ext uri="{FF2B5EF4-FFF2-40B4-BE49-F238E27FC236}">
                  <a16:creationId xmlns:a16="http://schemas.microsoft.com/office/drawing/2014/main" id="{8CE3DABB-EA7B-BDE7-096C-52AAEAB2F749}"/>
                </a:ext>
              </a:extLst>
            </p:cNvPr>
            <p:cNvGrpSpPr/>
            <p:nvPr/>
          </p:nvGrpSpPr>
          <p:grpSpPr>
            <a:xfrm>
              <a:off x="8702746" y="5509565"/>
              <a:ext cx="232319" cy="125096"/>
              <a:chOff x="388938" y="4767686"/>
              <a:chExt cx="298981" cy="160991"/>
            </a:xfrm>
            <a:noFill/>
          </p:grpSpPr>
          <p:sp>
            <p:nvSpPr>
              <p:cNvPr id="107" name="Freeform 346">
                <a:extLst>
                  <a:ext uri="{FF2B5EF4-FFF2-40B4-BE49-F238E27FC236}">
                    <a16:creationId xmlns:a16="http://schemas.microsoft.com/office/drawing/2014/main" id="{8EC92323-0100-8A94-D9AD-018571603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938" y="4767686"/>
                <a:ext cx="298981" cy="77841"/>
              </a:xfrm>
              <a:custGeom>
                <a:avLst/>
                <a:gdLst>
                  <a:gd name="T0" fmla="*/ 82 w 84"/>
                  <a:gd name="T1" fmla="*/ 22 h 22"/>
                  <a:gd name="T2" fmla="*/ 80 w 84"/>
                  <a:gd name="T3" fmla="*/ 22 h 22"/>
                  <a:gd name="T4" fmla="*/ 42 w 84"/>
                  <a:gd name="T5" fmla="*/ 4 h 22"/>
                  <a:gd name="T6" fmla="*/ 4 w 84"/>
                  <a:gd name="T7" fmla="*/ 22 h 22"/>
                  <a:gd name="T8" fmla="*/ 1 w 84"/>
                  <a:gd name="T9" fmla="*/ 22 h 22"/>
                  <a:gd name="T10" fmla="*/ 1 w 84"/>
                  <a:gd name="T11" fmla="*/ 19 h 22"/>
                  <a:gd name="T12" fmla="*/ 42 w 84"/>
                  <a:gd name="T13" fmla="*/ 0 h 22"/>
                  <a:gd name="T14" fmla="*/ 83 w 84"/>
                  <a:gd name="T15" fmla="*/ 19 h 22"/>
                  <a:gd name="T16" fmla="*/ 83 w 84"/>
                  <a:gd name="T17" fmla="*/ 22 h 22"/>
                  <a:gd name="T18" fmla="*/ 82 w 84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22">
                    <a:moveTo>
                      <a:pt x="82" y="22"/>
                    </a:moveTo>
                    <a:cubicBezTo>
                      <a:pt x="81" y="22"/>
                      <a:pt x="81" y="22"/>
                      <a:pt x="80" y="22"/>
                    </a:cubicBezTo>
                    <a:cubicBezTo>
                      <a:pt x="70" y="10"/>
                      <a:pt x="56" y="4"/>
                      <a:pt x="42" y="4"/>
                    </a:cubicBezTo>
                    <a:cubicBezTo>
                      <a:pt x="28" y="4"/>
                      <a:pt x="14" y="10"/>
                      <a:pt x="4" y="22"/>
                    </a:cubicBezTo>
                    <a:cubicBezTo>
                      <a:pt x="3" y="22"/>
                      <a:pt x="2" y="22"/>
                      <a:pt x="1" y="22"/>
                    </a:cubicBezTo>
                    <a:cubicBezTo>
                      <a:pt x="0" y="21"/>
                      <a:pt x="0" y="20"/>
                      <a:pt x="1" y="19"/>
                    </a:cubicBezTo>
                    <a:cubicBezTo>
                      <a:pt x="12" y="7"/>
                      <a:pt x="26" y="0"/>
                      <a:pt x="42" y="0"/>
                    </a:cubicBezTo>
                    <a:cubicBezTo>
                      <a:pt x="58" y="0"/>
                      <a:pt x="72" y="7"/>
                      <a:pt x="83" y="19"/>
                    </a:cubicBezTo>
                    <a:cubicBezTo>
                      <a:pt x="84" y="20"/>
                      <a:pt x="84" y="21"/>
                      <a:pt x="83" y="22"/>
                    </a:cubicBezTo>
                    <a:cubicBezTo>
                      <a:pt x="83" y="22"/>
                      <a:pt x="82" y="22"/>
                      <a:pt x="82" y="2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8" name="Freeform 347">
                <a:extLst>
                  <a:ext uri="{FF2B5EF4-FFF2-40B4-BE49-F238E27FC236}">
                    <a16:creationId xmlns:a16="http://schemas.microsoft.com/office/drawing/2014/main" id="{978B322C-73DF-6C5B-5108-11CD30328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320" y="4824298"/>
                <a:ext cx="228217" cy="65458"/>
              </a:xfrm>
              <a:custGeom>
                <a:avLst/>
                <a:gdLst>
                  <a:gd name="T0" fmla="*/ 62 w 64"/>
                  <a:gd name="T1" fmla="*/ 17 h 18"/>
                  <a:gd name="T2" fmla="*/ 60 w 64"/>
                  <a:gd name="T3" fmla="*/ 17 h 18"/>
                  <a:gd name="T4" fmla="*/ 32 w 64"/>
                  <a:gd name="T5" fmla="*/ 4 h 18"/>
                  <a:gd name="T6" fmla="*/ 4 w 64"/>
                  <a:gd name="T7" fmla="*/ 17 h 18"/>
                  <a:gd name="T8" fmla="*/ 1 w 64"/>
                  <a:gd name="T9" fmla="*/ 17 h 18"/>
                  <a:gd name="T10" fmla="*/ 1 w 64"/>
                  <a:gd name="T11" fmla="*/ 14 h 18"/>
                  <a:gd name="T12" fmla="*/ 32 w 64"/>
                  <a:gd name="T13" fmla="*/ 0 h 18"/>
                  <a:gd name="T14" fmla="*/ 63 w 64"/>
                  <a:gd name="T15" fmla="*/ 14 h 18"/>
                  <a:gd name="T16" fmla="*/ 63 w 64"/>
                  <a:gd name="T17" fmla="*/ 17 h 18"/>
                  <a:gd name="T18" fmla="*/ 62 w 64"/>
                  <a:gd name="T1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18">
                    <a:moveTo>
                      <a:pt x="62" y="17"/>
                    </a:moveTo>
                    <a:cubicBezTo>
                      <a:pt x="61" y="17"/>
                      <a:pt x="60" y="17"/>
                      <a:pt x="60" y="17"/>
                    </a:cubicBezTo>
                    <a:cubicBezTo>
                      <a:pt x="53" y="9"/>
                      <a:pt x="43" y="4"/>
                      <a:pt x="32" y="4"/>
                    </a:cubicBezTo>
                    <a:cubicBezTo>
                      <a:pt x="21" y="4"/>
                      <a:pt x="11" y="9"/>
                      <a:pt x="4" y="17"/>
                    </a:cubicBezTo>
                    <a:cubicBezTo>
                      <a:pt x="3" y="18"/>
                      <a:pt x="2" y="18"/>
                      <a:pt x="1" y="17"/>
                    </a:cubicBezTo>
                    <a:cubicBezTo>
                      <a:pt x="0" y="16"/>
                      <a:pt x="0" y="15"/>
                      <a:pt x="1" y="14"/>
                    </a:cubicBezTo>
                    <a:cubicBezTo>
                      <a:pt x="9" y="5"/>
                      <a:pt x="20" y="0"/>
                      <a:pt x="32" y="0"/>
                    </a:cubicBezTo>
                    <a:cubicBezTo>
                      <a:pt x="44" y="0"/>
                      <a:pt x="55" y="5"/>
                      <a:pt x="63" y="14"/>
                    </a:cubicBezTo>
                    <a:cubicBezTo>
                      <a:pt x="64" y="15"/>
                      <a:pt x="64" y="16"/>
                      <a:pt x="63" y="17"/>
                    </a:cubicBezTo>
                    <a:cubicBezTo>
                      <a:pt x="63" y="17"/>
                      <a:pt x="62" y="17"/>
                      <a:pt x="62" y="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9" name="Freeform 348">
                <a:extLst>
                  <a:ext uri="{FF2B5EF4-FFF2-40B4-BE49-F238E27FC236}">
                    <a16:creationId xmlns:a16="http://schemas.microsoft.com/office/drawing/2014/main" id="{6EF8F13B-87D0-9D68-04CB-2869A673B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241" y="4872065"/>
                <a:ext cx="139761" cy="56612"/>
              </a:xfrm>
              <a:custGeom>
                <a:avLst/>
                <a:gdLst>
                  <a:gd name="T0" fmla="*/ 2 w 39"/>
                  <a:gd name="T1" fmla="*/ 16 h 16"/>
                  <a:gd name="T2" fmla="*/ 0 w 39"/>
                  <a:gd name="T3" fmla="*/ 15 h 16"/>
                  <a:gd name="T4" fmla="*/ 0 w 39"/>
                  <a:gd name="T5" fmla="*/ 12 h 16"/>
                  <a:gd name="T6" fmla="*/ 39 w 39"/>
                  <a:gd name="T7" fmla="*/ 9 h 16"/>
                  <a:gd name="T8" fmla="*/ 39 w 39"/>
                  <a:gd name="T9" fmla="*/ 12 h 16"/>
                  <a:gd name="T10" fmla="*/ 36 w 39"/>
                  <a:gd name="T11" fmla="*/ 12 h 16"/>
                  <a:gd name="T12" fmla="*/ 3 w 39"/>
                  <a:gd name="T13" fmla="*/ 15 h 16"/>
                  <a:gd name="T14" fmla="*/ 2 w 39"/>
                  <a:gd name="T1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6">
                    <a:moveTo>
                      <a:pt x="2" y="16"/>
                    </a:moveTo>
                    <a:cubicBezTo>
                      <a:pt x="1" y="16"/>
                      <a:pt x="1" y="16"/>
                      <a:pt x="0" y="15"/>
                    </a:cubicBezTo>
                    <a:cubicBezTo>
                      <a:pt x="0" y="15"/>
                      <a:pt x="0" y="13"/>
                      <a:pt x="0" y="12"/>
                    </a:cubicBezTo>
                    <a:cubicBezTo>
                      <a:pt x="12" y="0"/>
                      <a:pt x="29" y="1"/>
                      <a:pt x="39" y="9"/>
                    </a:cubicBezTo>
                    <a:cubicBezTo>
                      <a:pt x="39" y="10"/>
                      <a:pt x="39" y="11"/>
                      <a:pt x="39" y="12"/>
                    </a:cubicBezTo>
                    <a:cubicBezTo>
                      <a:pt x="38" y="13"/>
                      <a:pt x="37" y="13"/>
                      <a:pt x="36" y="12"/>
                    </a:cubicBezTo>
                    <a:cubicBezTo>
                      <a:pt x="28" y="5"/>
                      <a:pt x="13" y="4"/>
                      <a:pt x="3" y="15"/>
                    </a:cubicBezTo>
                    <a:cubicBezTo>
                      <a:pt x="3" y="16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106" name="Textfeld 165">
              <a:extLst>
                <a:ext uri="{FF2B5EF4-FFF2-40B4-BE49-F238E27FC236}">
                  <a16:creationId xmlns:a16="http://schemas.microsoft.com/office/drawing/2014/main" id="{0D52A36F-FC4A-1582-1141-E8D035FB52A1}"/>
                </a:ext>
              </a:extLst>
            </p:cNvPr>
            <p:cNvSpPr txBox="1"/>
            <p:nvPr/>
          </p:nvSpPr>
          <p:spPr>
            <a:xfrm>
              <a:off x="8630368" y="5600716"/>
              <a:ext cx="381836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de-DE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5G</a:t>
              </a:r>
            </a:p>
          </p:txBody>
        </p:sp>
      </p:grpSp>
      <p:grpSp>
        <p:nvGrpSpPr>
          <p:cNvPr id="110" name="Group 65">
            <a:extLst>
              <a:ext uri="{FF2B5EF4-FFF2-40B4-BE49-F238E27FC236}">
                <a16:creationId xmlns:a16="http://schemas.microsoft.com/office/drawing/2014/main" id="{62E5EAD5-594A-1AD5-3AE3-A6C438FFC971}"/>
              </a:ext>
            </a:extLst>
          </p:cNvPr>
          <p:cNvGrpSpPr/>
          <p:nvPr/>
        </p:nvGrpSpPr>
        <p:grpSpPr>
          <a:xfrm>
            <a:off x="5221071" y="4602979"/>
            <a:ext cx="418825" cy="418825"/>
            <a:chOff x="7757691" y="5394774"/>
            <a:chExt cx="418825" cy="418825"/>
          </a:xfrm>
        </p:grpSpPr>
        <p:sp>
          <p:nvSpPr>
            <p:cNvPr id="111" name="Oval 66">
              <a:extLst>
                <a:ext uri="{FF2B5EF4-FFF2-40B4-BE49-F238E27FC236}">
                  <a16:creationId xmlns:a16="http://schemas.microsoft.com/office/drawing/2014/main" id="{F40BB857-FB84-4482-52A5-AE10D1746715}"/>
                </a:ext>
              </a:extLst>
            </p:cNvPr>
            <p:cNvSpPr/>
            <p:nvPr/>
          </p:nvSpPr>
          <p:spPr>
            <a:xfrm>
              <a:off x="7757691" y="5394774"/>
              <a:ext cx="418825" cy="418825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Century Gothic" panose="020B0502020202020204" pitchFamily="34" charset="0"/>
              </a:endParaRPr>
            </a:p>
          </p:txBody>
        </p:sp>
        <p:sp>
          <p:nvSpPr>
            <p:cNvPr id="112" name="Ellipse 160">
              <a:extLst>
                <a:ext uri="{FF2B5EF4-FFF2-40B4-BE49-F238E27FC236}">
                  <a16:creationId xmlns:a16="http://schemas.microsoft.com/office/drawing/2014/main" id="{E26E034B-6674-3F6D-0FA7-476774E0B46C}"/>
                </a:ext>
              </a:extLst>
            </p:cNvPr>
            <p:cNvSpPr/>
            <p:nvPr/>
          </p:nvSpPr>
          <p:spPr>
            <a:xfrm>
              <a:off x="7778966" y="5412584"/>
              <a:ext cx="378882" cy="38594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Century Gothic" panose="020B0502020202020204" pitchFamily="34" charset="0"/>
              </a:endParaRPr>
            </a:p>
          </p:txBody>
        </p:sp>
        <p:grpSp>
          <p:nvGrpSpPr>
            <p:cNvPr id="113" name="Gruppieren 164">
              <a:extLst>
                <a:ext uri="{FF2B5EF4-FFF2-40B4-BE49-F238E27FC236}">
                  <a16:creationId xmlns:a16="http://schemas.microsoft.com/office/drawing/2014/main" id="{59BB29C2-A287-3B83-6F3F-B866CD9C8560}"/>
                </a:ext>
              </a:extLst>
            </p:cNvPr>
            <p:cNvGrpSpPr/>
            <p:nvPr/>
          </p:nvGrpSpPr>
          <p:grpSpPr>
            <a:xfrm>
              <a:off x="7857010" y="5458490"/>
              <a:ext cx="232319" cy="125096"/>
              <a:chOff x="388938" y="4767686"/>
              <a:chExt cx="298981" cy="160991"/>
            </a:xfrm>
            <a:noFill/>
          </p:grpSpPr>
          <p:sp>
            <p:nvSpPr>
              <p:cNvPr id="115" name="Freeform 346">
                <a:extLst>
                  <a:ext uri="{FF2B5EF4-FFF2-40B4-BE49-F238E27FC236}">
                    <a16:creationId xmlns:a16="http://schemas.microsoft.com/office/drawing/2014/main" id="{5538C64E-834A-C2A8-F38F-0F283A228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938" y="4767686"/>
                <a:ext cx="298981" cy="77841"/>
              </a:xfrm>
              <a:custGeom>
                <a:avLst/>
                <a:gdLst>
                  <a:gd name="T0" fmla="*/ 82 w 84"/>
                  <a:gd name="T1" fmla="*/ 22 h 22"/>
                  <a:gd name="T2" fmla="*/ 80 w 84"/>
                  <a:gd name="T3" fmla="*/ 22 h 22"/>
                  <a:gd name="T4" fmla="*/ 42 w 84"/>
                  <a:gd name="T5" fmla="*/ 4 h 22"/>
                  <a:gd name="T6" fmla="*/ 4 w 84"/>
                  <a:gd name="T7" fmla="*/ 22 h 22"/>
                  <a:gd name="T8" fmla="*/ 1 w 84"/>
                  <a:gd name="T9" fmla="*/ 22 h 22"/>
                  <a:gd name="T10" fmla="*/ 1 w 84"/>
                  <a:gd name="T11" fmla="*/ 19 h 22"/>
                  <a:gd name="T12" fmla="*/ 42 w 84"/>
                  <a:gd name="T13" fmla="*/ 0 h 22"/>
                  <a:gd name="T14" fmla="*/ 83 w 84"/>
                  <a:gd name="T15" fmla="*/ 19 h 22"/>
                  <a:gd name="T16" fmla="*/ 83 w 84"/>
                  <a:gd name="T17" fmla="*/ 22 h 22"/>
                  <a:gd name="T18" fmla="*/ 82 w 84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22">
                    <a:moveTo>
                      <a:pt x="82" y="22"/>
                    </a:moveTo>
                    <a:cubicBezTo>
                      <a:pt x="81" y="22"/>
                      <a:pt x="81" y="22"/>
                      <a:pt x="80" y="22"/>
                    </a:cubicBezTo>
                    <a:cubicBezTo>
                      <a:pt x="70" y="10"/>
                      <a:pt x="56" y="4"/>
                      <a:pt x="42" y="4"/>
                    </a:cubicBezTo>
                    <a:cubicBezTo>
                      <a:pt x="28" y="4"/>
                      <a:pt x="14" y="10"/>
                      <a:pt x="4" y="22"/>
                    </a:cubicBezTo>
                    <a:cubicBezTo>
                      <a:pt x="3" y="22"/>
                      <a:pt x="2" y="22"/>
                      <a:pt x="1" y="22"/>
                    </a:cubicBezTo>
                    <a:cubicBezTo>
                      <a:pt x="0" y="21"/>
                      <a:pt x="0" y="20"/>
                      <a:pt x="1" y="19"/>
                    </a:cubicBezTo>
                    <a:cubicBezTo>
                      <a:pt x="12" y="7"/>
                      <a:pt x="26" y="0"/>
                      <a:pt x="42" y="0"/>
                    </a:cubicBezTo>
                    <a:cubicBezTo>
                      <a:pt x="58" y="0"/>
                      <a:pt x="72" y="7"/>
                      <a:pt x="83" y="19"/>
                    </a:cubicBezTo>
                    <a:cubicBezTo>
                      <a:pt x="84" y="20"/>
                      <a:pt x="84" y="21"/>
                      <a:pt x="83" y="22"/>
                    </a:cubicBezTo>
                    <a:cubicBezTo>
                      <a:pt x="83" y="22"/>
                      <a:pt x="82" y="22"/>
                      <a:pt x="82" y="2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6" name="Freeform 347">
                <a:extLst>
                  <a:ext uri="{FF2B5EF4-FFF2-40B4-BE49-F238E27FC236}">
                    <a16:creationId xmlns:a16="http://schemas.microsoft.com/office/drawing/2014/main" id="{6AEC0A84-3F2A-FCA4-D0F7-5EEA690175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320" y="4824298"/>
                <a:ext cx="228217" cy="65458"/>
              </a:xfrm>
              <a:custGeom>
                <a:avLst/>
                <a:gdLst>
                  <a:gd name="T0" fmla="*/ 62 w 64"/>
                  <a:gd name="T1" fmla="*/ 17 h 18"/>
                  <a:gd name="T2" fmla="*/ 60 w 64"/>
                  <a:gd name="T3" fmla="*/ 17 h 18"/>
                  <a:gd name="T4" fmla="*/ 32 w 64"/>
                  <a:gd name="T5" fmla="*/ 4 h 18"/>
                  <a:gd name="T6" fmla="*/ 4 w 64"/>
                  <a:gd name="T7" fmla="*/ 17 h 18"/>
                  <a:gd name="T8" fmla="*/ 1 w 64"/>
                  <a:gd name="T9" fmla="*/ 17 h 18"/>
                  <a:gd name="T10" fmla="*/ 1 w 64"/>
                  <a:gd name="T11" fmla="*/ 14 h 18"/>
                  <a:gd name="T12" fmla="*/ 32 w 64"/>
                  <a:gd name="T13" fmla="*/ 0 h 18"/>
                  <a:gd name="T14" fmla="*/ 63 w 64"/>
                  <a:gd name="T15" fmla="*/ 14 h 18"/>
                  <a:gd name="T16" fmla="*/ 63 w 64"/>
                  <a:gd name="T17" fmla="*/ 17 h 18"/>
                  <a:gd name="T18" fmla="*/ 62 w 64"/>
                  <a:gd name="T1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18">
                    <a:moveTo>
                      <a:pt x="62" y="17"/>
                    </a:moveTo>
                    <a:cubicBezTo>
                      <a:pt x="61" y="17"/>
                      <a:pt x="60" y="17"/>
                      <a:pt x="60" y="17"/>
                    </a:cubicBezTo>
                    <a:cubicBezTo>
                      <a:pt x="53" y="9"/>
                      <a:pt x="43" y="4"/>
                      <a:pt x="32" y="4"/>
                    </a:cubicBezTo>
                    <a:cubicBezTo>
                      <a:pt x="21" y="4"/>
                      <a:pt x="11" y="9"/>
                      <a:pt x="4" y="17"/>
                    </a:cubicBezTo>
                    <a:cubicBezTo>
                      <a:pt x="3" y="18"/>
                      <a:pt x="2" y="18"/>
                      <a:pt x="1" y="17"/>
                    </a:cubicBezTo>
                    <a:cubicBezTo>
                      <a:pt x="0" y="16"/>
                      <a:pt x="0" y="15"/>
                      <a:pt x="1" y="14"/>
                    </a:cubicBezTo>
                    <a:cubicBezTo>
                      <a:pt x="9" y="5"/>
                      <a:pt x="20" y="0"/>
                      <a:pt x="32" y="0"/>
                    </a:cubicBezTo>
                    <a:cubicBezTo>
                      <a:pt x="44" y="0"/>
                      <a:pt x="55" y="5"/>
                      <a:pt x="63" y="14"/>
                    </a:cubicBezTo>
                    <a:cubicBezTo>
                      <a:pt x="64" y="15"/>
                      <a:pt x="64" y="16"/>
                      <a:pt x="63" y="17"/>
                    </a:cubicBezTo>
                    <a:cubicBezTo>
                      <a:pt x="63" y="17"/>
                      <a:pt x="62" y="17"/>
                      <a:pt x="62" y="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7" name="Freeform 348">
                <a:extLst>
                  <a:ext uri="{FF2B5EF4-FFF2-40B4-BE49-F238E27FC236}">
                    <a16:creationId xmlns:a16="http://schemas.microsoft.com/office/drawing/2014/main" id="{48EDE7D1-0D44-5391-776C-D5FB0CE12F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241" y="4872065"/>
                <a:ext cx="139761" cy="56612"/>
              </a:xfrm>
              <a:custGeom>
                <a:avLst/>
                <a:gdLst>
                  <a:gd name="T0" fmla="*/ 2 w 39"/>
                  <a:gd name="T1" fmla="*/ 16 h 16"/>
                  <a:gd name="T2" fmla="*/ 0 w 39"/>
                  <a:gd name="T3" fmla="*/ 15 h 16"/>
                  <a:gd name="T4" fmla="*/ 0 w 39"/>
                  <a:gd name="T5" fmla="*/ 12 h 16"/>
                  <a:gd name="T6" fmla="*/ 39 w 39"/>
                  <a:gd name="T7" fmla="*/ 9 h 16"/>
                  <a:gd name="T8" fmla="*/ 39 w 39"/>
                  <a:gd name="T9" fmla="*/ 12 h 16"/>
                  <a:gd name="T10" fmla="*/ 36 w 39"/>
                  <a:gd name="T11" fmla="*/ 12 h 16"/>
                  <a:gd name="T12" fmla="*/ 3 w 39"/>
                  <a:gd name="T13" fmla="*/ 15 h 16"/>
                  <a:gd name="T14" fmla="*/ 2 w 39"/>
                  <a:gd name="T1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6">
                    <a:moveTo>
                      <a:pt x="2" y="16"/>
                    </a:moveTo>
                    <a:cubicBezTo>
                      <a:pt x="1" y="16"/>
                      <a:pt x="1" y="16"/>
                      <a:pt x="0" y="15"/>
                    </a:cubicBezTo>
                    <a:cubicBezTo>
                      <a:pt x="0" y="15"/>
                      <a:pt x="0" y="13"/>
                      <a:pt x="0" y="12"/>
                    </a:cubicBezTo>
                    <a:cubicBezTo>
                      <a:pt x="12" y="0"/>
                      <a:pt x="29" y="1"/>
                      <a:pt x="39" y="9"/>
                    </a:cubicBezTo>
                    <a:cubicBezTo>
                      <a:pt x="39" y="10"/>
                      <a:pt x="39" y="11"/>
                      <a:pt x="39" y="12"/>
                    </a:cubicBezTo>
                    <a:cubicBezTo>
                      <a:pt x="38" y="13"/>
                      <a:pt x="37" y="13"/>
                      <a:pt x="36" y="12"/>
                    </a:cubicBezTo>
                    <a:cubicBezTo>
                      <a:pt x="28" y="5"/>
                      <a:pt x="13" y="4"/>
                      <a:pt x="3" y="15"/>
                    </a:cubicBezTo>
                    <a:cubicBezTo>
                      <a:pt x="3" y="16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114" name="Textfeld 165">
              <a:extLst>
                <a:ext uri="{FF2B5EF4-FFF2-40B4-BE49-F238E27FC236}">
                  <a16:creationId xmlns:a16="http://schemas.microsoft.com/office/drawing/2014/main" id="{1B279F2D-977A-66B1-4FE3-2566257B3611}"/>
                </a:ext>
              </a:extLst>
            </p:cNvPr>
            <p:cNvSpPr txBox="1"/>
            <p:nvPr/>
          </p:nvSpPr>
          <p:spPr>
            <a:xfrm>
              <a:off x="7784632" y="5549641"/>
              <a:ext cx="381836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de-DE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6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32706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684842D-4AF3-4900-F42C-4039582BD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4606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8" imgH="329" progId="TCLayout.ActiveDocument.1">
                  <p:embed/>
                </p:oleObj>
              </mc:Choice>
              <mc:Fallback>
                <p:oleObj name="think-cell Folie" r:id="rId3" imgW="328" imgH="32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84842D-4AF3-4900-F42C-4039582BD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FD2D05-0A03-1EFA-7793-5174BAF7AD2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>
                <a:latin typeface="Century Gothic" panose="020B0502020202020204" pitchFamily="34" charset="0"/>
              </a:rPr>
              <a:t>Plasma Polish – </a:t>
            </a:r>
            <a:br>
              <a:rPr lang="en-GB" dirty="0">
                <a:latin typeface="Century Gothic" panose="020B0502020202020204" pitchFamily="34" charset="0"/>
              </a:rPr>
            </a:br>
            <a:r>
              <a:rPr lang="en-GB" dirty="0">
                <a:latin typeface="Century Gothic" panose="020B0502020202020204" pitchFamily="34" charset="0"/>
              </a:rPr>
              <a:t>A Game Changer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DC2CA23-656E-18CB-0CA2-EA0FD65237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7645" y="4162215"/>
            <a:ext cx="11493726" cy="1655762"/>
          </a:xfrm>
        </p:spPr>
        <p:txBody>
          <a:bodyPr/>
          <a:lstStyle/>
          <a:p>
            <a:r>
              <a:rPr lang="en-GB" sz="2400" dirty="0">
                <a:latin typeface="Century Gothic" panose="020B0502020202020204" pitchFamily="34" charset="0"/>
              </a:rPr>
              <a:t>Stable, cost effective and green Polish solution </a:t>
            </a:r>
          </a:p>
          <a:p>
            <a:r>
              <a:rPr lang="en-GB" sz="2400" dirty="0">
                <a:latin typeface="Century Gothic" panose="020B0502020202020204" pitchFamily="34" charset="0"/>
              </a:rPr>
              <a:t>to prepare epi-ready </a:t>
            </a:r>
            <a:r>
              <a:rPr lang="en-GB" sz="2400" dirty="0" err="1">
                <a:latin typeface="Century Gothic" panose="020B0502020202020204" pitchFamily="34" charset="0"/>
              </a:rPr>
              <a:t>SiC</a:t>
            </a:r>
            <a:r>
              <a:rPr lang="en-GB" sz="2400" dirty="0">
                <a:latin typeface="Century Gothic" panose="020B0502020202020204" pitchFamily="34" charset="0"/>
              </a:rPr>
              <a:t> substrate surface</a:t>
            </a:r>
          </a:p>
        </p:txBody>
      </p:sp>
    </p:spTree>
    <p:extLst>
      <p:ext uri="{BB962C8B-B14F-4D97-AF65-F5344CB8AC3E}">
        <p14:creationId xmlns:p14="http://schemas.microsoft.com/office/powerpoint/2010/main" val="1246529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344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9" imgH="330" progId="TCLayout.ActiveDocument.1">
                  <p:embed/>
                </p:oleObj>
              </mc:Choice>
              <mc:Fallback>
                <p:oleObj name="think-cell Folie" r:id="rId3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hy Polish ?</a:t>
            </a:r>
            <a:br>
              <a:rPr lang="en-GB" dirty="0"/>
            </a:br>
            <a:r>
              <a:rPr lang="en-GB" sz="2400" b="0" i="1" dirty="0"/>
              <a:t>Need Damage free crystal for Front End Manufacturing </a:t>
            </a:r>
            <a:endParaRPr lang="en-US" sz="2400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5129402-D085-CD72-48BE-04C2454EBE3F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6</a:t>
            </a:fld>
            <a:endParaRPr lang="en-GB" sz="1200" dirty="0">
              <a:solidFill>
                <a:schemeClr val="accent2"/>
              </a:solidFill>
            </a:endParaRPr>
          </a:p>
        </p:txBody>
      </p:sp>
      <p:grpSp>
        <p:nvGrpSpPr>
          <p:cNvPr id="9" name="Gruppieren 2">
            <a:extLst>
              <a:ext uri="{FF2B5EF4-FFF2-40B4-BE49-F238E27FC236}">
                <a16:creationId xmlns:a16="http://schemas.microsoft.com/office/drawing/2014/main" id="{41B7B901-07AB-2EDC-BE82-58A40466432A}"/>
              </a:ext>
            </a:extLst>
          </p:cNvPr>
          <p:cNvGrpSpPr/>
          <p:nvPr/>
        </p:nvGrpSpPr>
        <p:grpSpPr>
          <a:xfrm>
            <a:off x="308464" y="1696034"/>
            <a:ext cx="11606445" cy="1393427"/>
            <a:chOff x="319097" y="1212135"/>
            <a:chExt cx="11819312" cy="753532"/>
          </a:xfrm>
        </p:grpSpPr>
        <p:sp>
          <p:nvSpPr>
            <p:cNvPr id="10" name="Pfeil: Fünfeck 92">
              <a:extLst>
                <a:ext uri="{FF2B5EF4-FFF2-40B4-BE49-F238E27FC236}">
                  <a16:creationId xmlns:a16="http://schemas.microsoft.com/office/drawing/2014/main" id="{87BA9D86-16A8-0C3F-1EC3-2E578126E70D}"/>
                </a:ext>
              </a:extLst>
            </p:cNvPr>
            <p:cNvSpPr/>
            <p:nvPr/>
          </p:nvSpPr>
          <p:spPr>
            <a:xfrm>
              <a:off x="10638969" y="1212135"/>
              <a:ext cx="1499440" cy="753532"/>
            </a:xfrm>
            <a:prstGeom prst="homePlate">
              <a:avLst>
                <a:gd name="adj" fmla="val 19811"/>
              </a:avLst>
            </a:pr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4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O</a:t>
              </a:r>
              <a:r>
                <a:rPr lang="en-US" sz="1400" b="1" err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ther</a:t>
              </a:r>
              <a:endParaRPr lang="en-US" sz="1400" b="1">
                <a:solidFill>
                  <a:schemeClr val="accent2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" name="Pfeil: Fünfeck 93">
              <a:extLst>
                <a:ext uri="{FF2B5EF4-FFF2-40B4-BE49-F238E27FC236}">
                  <a16:creationId xmlns:a16="http://schemas.microsoft.com/office/drawing/2014/main" id="{A4484761-277B-9F41-9080-47882B88C356}"/>
                </a:ext>
              </a:extLst>
            </p:cNvPr>
            <p:cNvSpPr/>
            <p:nvPr/>
          </p:nvSpPr>
          <p:spPr>
            <a:xfrm>
              <a:off x="9399098" y="1212135"/>
              <a:ext cx="1544780" cy="753532"/>
            </a:xfrm>
            <a:prstGeom prst="homePlate">
              <a:avLst>
                <a:gd name="adj" fmla="val 19811"/>
              </a:avLst>
            </a:pr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   Deposition</a:t>
              </a:r>
            </a:p>
          </p:txBody>
        </p:sp>
        <p:sp>
          <p:nvSpPr>
            <p:cNvPr id="14" name="Pfeil: Fünfeck 94">
              <a:extLst>
                <a:ext uri="{FF2B5EF4-FFF2-40B4-BE49-F238E27FC236}">
                  <a16:creationId xmlns:a16="http://schemas.microsoft.com/office/drawing/2014/main" id="{0EE33C1A-E607-5F89-4D53-ECB2B5F5D9BA}"/>
                </a:ext>
              </a:extLst>
            </p:cNvPr>
            <p:cNvSpPr/>
            <p:nvPr/>
          </p:nvSpPr>
          <p:spPr>
            <a:xfrm>
              <a:off x="8312283" y="1212135"/>
              <a:ext cx="1343005" cy="753532"/>
            </a:xfrm>
            <a:prstGeom prst="homePlate">
              <a:avLst>
                <a:gd name="adj" fmla="val 19811"/>
              </a:avLst>
            </a:pr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Etch</a:t>
              </a:r>
            </a:p>
          </p:txBody>
        </p:sp>
        <p:sp>
          <p:nvSpPr>
            <p:cNvPr id="15" name="Pfeil: Fünfeck 95">
              <a:extLst>
                <a:ext uri="{FF2B5EF4-FFF2-40B4-BE49-F238E27FC236}">
                  <a16:creationId xmlns:a16="http://schemas.microsoft.com/office/drawing/2014/main" id="{61B5C3B2-38CB-2E6C-C840-CEA09DF2E0C0}"/>
                </a:ext>
              </a:extLst>
            </p:cNvPr>
            <p:cNvSpPr/>
            <p:nvPr/>
          </p:nvSpPr>
          <p:spPr>
            <a:xfrm>
              <a:off x="7219531" y="1212135"/>
              <a:ext cx="1363502" cy="753532"/>
            </a:xfrm>
            <a:prstGeom prst="homePlate">
              <a:avLst>
                <a:gd name="adj" fmla="val 19811"/>
              </a:avLst>
            </a:pr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EPI</a:t>
              </a:r>
            </a:p>
          </p:txBody>
        </p:sp>
        <p:sp>
          <p:nvSpPr>
            <p:cNvPr id="16" name="Pfeil: Fünfeck 78">
              <a:extLst>
                <a:ext uri="{FF2B5EF4-FFF2-40B4-BE49-F238E27FC236}">
                  <a16:creationId xmlns:a16="http://schemas.microsoft.com/office/drawing/2014/main" id="{8816E14B-F31B-0A34-BF9B-72DE04632218}"/>
                </a:ext>
              </a:extLst>
            </p:cNvPr>
            <p:cNvSpPr/>
            <p:nvPr/>
          </p:nvSpPr>
          <p:spPr>
            <a:xfrm>
              <a:off x="5021321" y="1212135"/>
              <a:ext cx="2474897" cy="753532"/>
            </a:xfrm>
            <a:prstGeom prst="homePlate">
              <a:avLst>
                <a:gd name="adj" fmla="val 1981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Polish</a:t>
              </a:r>
            </a:p>
          </p:txBody>
        </p:sp>
        <p:sp>
          <p:nvSpPr>
            <p:cNvPr id="17" name="Pfeil: Fünfeck 91">
              <a:extLst>
                <a:ext uri="{FF2B5EF4-FFF2-40B4-BE49-F238E27FC236}">
                  <a16:creationId xmlns:a16="http://schemas.microsoft.com/office/drawing/2014/main" id="{416DB418-5DB2-2DB5-2B27-44D0158F64BC}"/>
                </a:ext>
              </a:extLst>
            </p:cNvPr>
            <p:cNvSpPr/>
            <p:nvPr/>
          </p:nvSpPr>
          <p:spPr>
            <a:xfrm>
              <a:off x="3705034" y="1212135"/>
              <a:ext cx="1586243" cy="753532"/>
            </a:xfrm>
            <a:prstGeom prst="homePlate">
              <a:avLst>
                <a:gd name="adj" fmla="val 19811"/>
              </a:avLst>
            </a:pr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Grinding</a:t>
              </a:r>
            </a:p>
          </p:txBody>
        </p:sp>
        <p:sp>
          <p:nvSpPr>
            <p:cNvPr id="18" name="Pfeil: Fünfeck 90">
              <a:extLst>
                <a:ext uri="{FF2B5EF4-FFF2-40B4-BE49-F238E27FC236}">
                  <a16:creationId xmlns:a16="http://schemas.microsoft.com/office/drawing/2014/main" id="{C87383E1-7044-6F20-CB9C-812A4542AB2D}"/>
                </a:ext>
              </a:extLst>
            </p:cNvPr>
            <p:cNvSpPr/>
            <p:nvPr/>
          </p:nvSpPr>
          <p:spPr>
            <a:xfrm>
              <a:off x="2541690" y="1212135"/>
              <a:ext cx="1467596" cy="753532"/>
            </a:xfrm>
            <a:prstGeom prst="homePlate">
              <a:avLst>
                <a:gd name="adj" fmla="val 19811"/>
              </a:avLst>
            </a:pr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    Slicing</a:t>
              </a:r>
            </a:p>
          </p:txBody>
        </p:sp>
        <p:sp>
          <p:nvSpPr>
            <p:cNvPr id="19" name="Pfeil: Fünfeck 89">
              <a:extLst>
                <a:ext uri="{FF2B5EF4-FFF2-40B4-BE49-F238E27FC236}">
                  <a16:creationId xmlns:a16="http://schemas.microsoft.com/office/drawing/2014/main" id="{C436FB55-F6D4-944F-AF1F-48B18EBFD3E1}"/>
                </a:ext>
              </a:extLst>
            </p:cNvPr>
            <p:cNvSpPr/>
            <p:nvPr/>
          </p:nvSpPr>
          <p:spPr>
            <a:xfrm>
              <a:off x="1363791" y="1212135"/>
              <a:ext cx="1482152" cy="753532"/>
            </a:xfrm>
            <a:prstGeom prst="homePlate">
              <a:avLst>
                <a:gd name="adj" fmla="val 19811"/>
              </a:avLst>
            </a:pr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388" algn="ctr"/>
              <a:r>
                <a:rPr lang="en-US" sz="1400" b="1" dirty="0">
                  <a:solidFill>
                    <a:schemeClr val="accent2"/>
                  </a:solidFill>
                  <a:latin typeface="Century Gothic" panose="020B0502020202020204" pitchFamily="34" charset="0"/>
                </a:rPr>
                <a:t>Flat for-</a:t>
              </a:r>
              <a:r>
                <a:rPr lang="en-US" sz="1400" b="1" dirty="0" err="1">
                  <a:solidFill>
                    <a:schemeClr val="accent2"/>
                  </a:solidFill>
                  <a:latin typeface="Century Gothic" panose="020B0502020202020204" pitchFamily="34" charset="0"/>
                </a:rPr>
                <a:t>mation</a:t>
              </a:r>
              <a:endParaRPr lang="en-US" sz="1400" b="1" dirty="0">
                <a:solidFill>
                  <a:schemeClr val="accent2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0" name="Pfeil: Fünfeck 81">
              <a:extLst>
                <a:ext uri="{FF2B5EF4-FFF2-40B4-BE49-F238E27FC236}">
                  <a16:creationId xmlns:a16="http://schemas.microsoft.com/office/drawing/2014/main" id="{42FCBE9B-264E-DC7F-6FCD-CBCCED2B2441}"/>
                </a:ext>
              </a:extLst>
            </p:cNvPr>
            <p:cNvSpPr/>
            <p:nvPr/>
          </p:nvSpPr>
          <p:spPr>
            <a:xfrm>
              <a:off x="319097" y="1212135"/>
              <a:ext cx="1363502" cy="753532"/>
            </a:xfrm>
            <a:prstGeom prst="homePlate">
              <a:avLst>
                <a:gd name="adj" fmla="val 19811"/>
              </a:avLst>
            </a:pr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dirty="0">
                  <a:solidFill>
                    <a:schemeClr val="accent2"/>
                  </a:solidFill>
                  <a:latin typeface="Century Gothic" panose="020B0502020202020204" pitchFamily="34" charset="0"/>
                </a:rPr>
                <a:t>Crystal Growth</a:t>
              </a:r>
            </a:p>
          </p:txBody>
        </p:sp>
      </p:grpSp>
      <p:cxnSp>
        <p:nvCxnSpPr>
          <p:cNvPr id="21" name="Gerader Verbinder 106">
            <a:extLst>
              <a:ext uri="{FF2B5EF4-FFF2-40B4-BE49-F238E27FC236}">
                <a16:creationId xmlns:a16="http://schemas.microsoft.com/office/drawing/2014/main" id="{6F9BD725-6FAD-4745-8EE6-5EA728FDE721}"/>
              </a:ext>
            </a:extLst>
          </p:cNvPr>
          <p:cNvCxnSpPr>
            <a:cxnSpLocks/>
          </p:cNvCxnSpPr>
          <p:nvPr/>
        </p:nvCxnSpPr>
        <p:spPr>
          <a:xfrm>
            <a:off x="315768" y="1632580"/>
            <a:ext cx="669717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107">
            <a:extLst>
              <a:ext uri="{FF2B5EF4-FFF2-40B4-BE49-F238E27FC236}">
                <a16:creationId xmlns:a16="http://schemas.microsoft.com/office/drawing/2014/main" id="{E05ECC1A-C2D9-9692-F688-DD7FC29ADABC}"/>
              </a:ext>
            </a:extLst>
          </p:cNvPr>
          <p:cNvCxnSpPr>
            <a:cxnSpLocks/>
          </p:cNvCxnSpPr>
          <p:nvPr/>
        </p:nvCxnSpPr>
        <p:spPr>
          <a:xfrm>
            <a:off x="7127240" y="1632580"/>
            <a:ext cx="445228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108">
            <a:extLst>
              <a:ext uri="{FF2B5EF4-FFF2-40B4-BE49-F238E27FC236}">
                <a16:creationId xmlns:a16="http://schemas.microsoft.com/office/drawing/2014/main" id="{E4CE6123-D251-9034-C3AD-301DACCD763D}"/>
              </a:ext>
            </a:extLst>
          </p:cNvPr>
          <p:cNvSpPr txBox="1"/>
          <p:nvPr/>
        </p:nvSpPr>
        <p:spPr>
          <a:xfrm>
            <a:off x="315768" y="1256622"/>
            <a:ext cx="6450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>
                <a:solidFill>
                  <a:schemeClr val="accent2"/>
                </a:solidFill>
                <a:latin typeface="Century Gothic" panose="020B0502020202020204" pitchFamily="34" charset="0"/>
              </a:rPr>
              <a:t>Substrate Manufacturing</a:t>
            </a:r>
            <a:endParaRPr lang="en-US" b="1" i="1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Textfeld 109">
            <a:extLst>
              <a:ext uri="{FF2B5EF4-FFF2-40B4-BE49-F238E27FC236}">
                <a16:creationId xmlns:a16="http://schemas.microsoft.com/office/drawing/2014/main" id="{A2CD01A2-B878-6418-5204-2F198B6C1008}"/>
              </a:ext>
            </a:extLst>
          </p:cNvPr>
          <p:cNvSpPr txBox="1"/>
          <p:nvPr/>
        </p:nvSpPr>
        <p:spPr>
          <a:xfrm>
            <a:off x="7084621" y="1256622"/>
            <a:ext cx="4436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>
                <a:solidFill>
                  <a:schemeClr val="accent2"/>
                </a:solidFill>
                <a:latin typeface="Century Gothic" panose="020B0502020202020204" pitchFamily="34" charset="0"/>
              </a:rPr>
              <a:t>Front End Manufacturing</a:t>
            </a:r>
            <a:endParaRPr lang="en-US" b="1" i="1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5" name="Picture 23">
            <a:extLst>
              <a:ext uri="{FF2B5EF4-FFF2-40B4-BE49-F238E27FC236}">
                <a16:creationId xmlns:a16="http://schemas.microsoft.com/office/drawing/2014/main" id="{5622B301-219B-5563-5B7C-7D6D07BDBB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368" y="3554515"/>
            <a:ext cx="7110733" cy="2407111"/>
          </a:xfrm>
          <a:prstGeom prst="rect">
            <a:avLst/>
          </a:prstGeom>
        </p:spPr>
      </p:pic>
      <p:sp>
        <p:nvSpPr>
          <p:cNvPr id="26" name="Arrow: Curved Down 34">
            <a:extLst>
              <a:ext uri="{FF2B5EF4-FFF2-40B4-BE49-F238E27FC236}">
                <a16:creationId xmlns:a16="http://schemas.microsoft.com/office/drawing/2014/main" id="{1469FED4-E7BF-C24E-2DA2-00C0E02AF574}"/>
              </a:ext>
            </a:extLst>
          </p:cNvPr>
          <p:cNvSpPr/>
          <p:nvPr/>
        </p:nvSpPr>
        <p:spPr>
          <a:xfrm rot="1506730">
            <a:off x="2783988" y="3605508"/>
            <a:ext cx="1273836" cy="389116"/>
          </a:xfrm>
          <a:prstGeom prst="curvedDownArrow">
            <a:avLst>
              <a:gd name="adj1" fmla="val 14184"/>
              <a:gd name="adj2" fmla="val 34162"/>
              <a:gd name="adj3" fmla="val 50219"/>
            </a:avLst>
          </a:prstGeom>
          <a:solidFill>
            <a:schemeClr val="accent4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27" name="TextBox 39">
            <a:extLst>
              <a:ext uri="{FF2B5EF4-FFF2-40B4-BE49-F238E27FC236}">
                <a16:creationId xmlns:a16="http://schemas.microsoft.com/office/drawing/2014/main" id="{04801400-8A7A-E9F8-D9F1-34A42E770325}"/>
              </a:ext>
            </a:extLst>
          </p:cNvPr>
          <p:cNvSpPr txBox="1"/>
          <p:nvPr/>
        </p:nvSpPr>
        <p:spPr>
          <a:xfrm>
            <a:off x="3474456" y="3315777"/>
            <a:ext cx="827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</a:rPr>
              <a:t>Grind</a:t>
            </a:r>
          </a:p>
        </p:txBody>
      </p:sp>
      <p:sp>
        <p:nvSpPr>
          <p:cNvPr id="28" name="TextBox 41">
            <a:extLst>
              <a:ext uri="{FF2B5EF4-FFF2-40B4-BE49-F238E27FC236}">
                <a16:creationId xmlns:a16="http://schemas.microsoft.com/office/drawing/2014/main" id="{BE94A4C8-C485-2D1E-041E-F19CE98056AB}"/>
              </a:ext>
            </a:extLst>
          </p:cNvPr>
          <p:cNvSpPr txBox="1"/>
          <p:nvPr/>
        </p:nvSpPr>
        <p:spPr>
          <a:xfrm>
            <a:off x="5681184" y="3887686"/>
            <a:ext cx="827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latin typeface="Century Gothic" panose="020B0502020202020204" pitchFamily="34" charset="0"/>
              </a:rPr>
              <a:t>Polish</a:t>
            </a:r>
          </a:p>
        </p:txBody>
      </p:sp>
      <p:sp>
        <p:nvSpPr>
          <p:cNvPr id="29" name="Arrow: Curved Down 42">
            <a:extLst>
              <a:ext uri="{FF2B5EF4-FFF2-40B4-BE49-F238E27FC236}">
                <a16:creationId xmlns:a16="http://schemas.microsoft.com/office/drawing/2014/main" id="{DAA736DE-F3B8-A58D-932E-1BF56D743E54}"/>
              </a:ext>
            </a:extLst>
          </p:cNvPr>
          <p:cNvSpPr/>
          <p:nvPr/>
        </p:nvSpPr>
        <p:spPr>
          <a:xfrm rot="1506730">
            <a:off x="4807718" y="4172578"/>
            <a:ext cx="1273836" cy="389116"/>
          </a:xfrm>
          <a:prstGeom prst="curvedDownArrow">
            <a:avLst>
              <a:gd name="adj1" fmla="val 14184"/>
              <a:gd name="adj2" fmla="val 34162"/>
              <a:gd name="adj3" fmla="val 50219"/>
            </a:avLst>
          </a:prstGeom>
          <a:solidFill>
            <a:schemeClr val="accent4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0" name="TextBox 44">
            <a:extLst>
              <a:ext uri="{FF2B5EF4-FFF2-40B4-BE49-F238E27FC236}">
                <a16:creationId xmlns:a16="http://schemas.microsoft.com/office/drawing/2014/main" id="{7B152E34-320B-8B36-4241-CBF2D5C22E91}"/>
              </a:ext>
            </a:extLst>
          </p:cNvPr>
          <p:cNvSpPr txBox="1"/>
          <p:nvPr/>
        </p:nvSpPr>
        <p:spPr>
          <a:xfrm>
            <a:off x="305686" y="6004149"/>
            <a:ext cx="989411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sz="1000" dirty="0">
                <a:latin typeface="Century Gothic" panose="020B0502020202020204" pitchFamily="34" charset="0"/>
              </a:rPr>
              <a:t>Hsieh, C.-H.; Chang, C.-Y.; Hsiao, Y.-K.; Chen, C.-C.A.; Tu, C.-C.; </a:t>
            </a:r>
            <a:r>
              <a:rPr lang="de-DE" sz="1000" dirty="0" err="1">
                <a:latin typeface="Century Gothic" panose="020B0502020202020204" pitchFamily="34" charset="0"/>
              </a:rPr>
              <a:t>Kuo</a:t>
            </a:r>
            <a:r>
              <a:rPr lang="de-DE" sz="1000" dirty="0">
                <a:latin typeface="Century Gothic" panose="020B0502020202020204" pitchFamily="34" charset="0"/>
              </a:rPr>
              <a:t>, H.-C. </a:t>
            </a:r>
            <a:r>
              <a:rPr lang="de-DE" sz="1000" dirty="0" err="1">
                <a:latin typeface="Century Gothic" panose="020B0502020202020204" pitchFamily="34" charset="0"/>
              </a:rPr>
              <a:t>Recent</a:t>
            </a:r>
            <a:r>
              <a:rPr lang="de-DE" sz="1000" dirty="0">
                <a:latin typeface="Century Gothic" panose="020B0502020202020204" pitchFamily="34" charset="0"/>
              </a:rPr>
              <a:t> </a:t>
            </a:r>
            <a:r>
              <a:rPr lang="de-DE" sz="1000" dirty="0" err="1">
                <a:latin typeface="Century Gothic" panose="020B0502020202020204" pitchFamily="34" charset="0"/>
              </a:rPr>
              <a:t>Advances</a:t>
            </a:r>
            <a:r>
              <a:rPr lang="de-DE" sz="1000" dirty="0">
                <a:latin typeface="Century Gothic" panose="020B0502020202020204" pitchFamily="34" charset="0"/>
              </a:rPr>
              <a:t> In Silicon Carbide Chemical </a:t>
            </a:r>
            <a:r>
              <a:rPr lang="de-DE" sz="1000" dirty="0" err="1">
                <a:latin typeface="Century Gothic" panose="020B0502020202020204" pitchFamily="34" charset="0"/>
              </a:rPr>
              <a:t>Mechanical</a:t>
            </a:r>
            <a:r>
              <a:rPr lang="de-DE" sz="1000" dirty="0">
                <a:latin typeface="Century Gothic" panose="020B0502020202020204" pitchFamily="34" charset="0"/>
              </a:rPr>
              <a:t> </a:t>
            </a:r>
            <a:r>
              <a:rPr lang="de-DE" sz="1000" dirty="0" err="1">
                <a:latin typeface="Century Gothic" panose="020B0502020202020204" pitchFamily="34" charset="0"/>
              </a:rPr>
              <a:t>Polishing</a:t>
            </a:r>
            <a:r>
              <a:rPr lang="de-DE" sz="1000" dirty="0">
                <a:latin typeface="Century Gothic" panose="020B0502020202020204" pitchFamily="34" charset="0"/>
              </a:rPr>
              <a:t> Technologies. </a:t>
            </a:r>
            <a:r>
              <a:rPr lang="de-DE" sz="1000" dirty="0" err="1">
                <a:latin typeface="Century Gothic" panose="020B0502020202020204" pitchFamily="34" charset="0"/>
              </a:rPr>
              <a:t>Micromachines</a:t>
            </a:r>
            <a:r>
              <a:rPr lang="de-DE" sz="1000" dirty="0">
                <a:latin typeface="Century Gothic" panose="020B0502020202020204" pitchFamily="34" charset="0"/>
              </a:rPr>
              <a:t> 2022, 13, 1752.</a:t>
            </a:r>
            <a:endParaRPr lang="en-US" sz="1000" i="0" dirty="0">
              <a:solidFill>
                <a:srgbClr val="000000"/>
              </a:solidFill>
              <a:effectLst/>
              <a:latin typeface="Century Gothic" panose="020B0502020202020204" pitchFamily="34" charset="0"/>
            </a:endParaRPr>
          </a:p>
        </p:txBody>
      </p:sp>
      <p:sp>
        <p:nvSpPr>
          <p:cNvPr id="31" name="Content Placeholder 7">
            <a:extLst>
              <a:ext uri="{FF2B5EF4-FFF2-40B4-BE49-F238E27FC236}">
                <a16:creationId xmlns:a16="http://schemas.microsoft.com/office/drawing/2014/main" id="{0B3A8111-6EA4-8944-F427-ED53DC827029}"/>
              </a:ext>
            </a:extLst>
          </p:cNvPr>
          <p:cNvSpPr txBox="1">
            <a:spLocks/>
          </p:cNvSpPr>
          <p:nvPr/>
        </p:nvSpPr>
        <p:spPr>
          <a:xfrm>
            <a:off x="7526310" y="3452397"/>
            <a:ext cx="4315724" cy="2296396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600" b="1" dirty="0">
                <a:latin typeface="Century Gothic" panose="020B0502020202020204" pitchFamily="34" charset="0"/>
              </a:rPr>
              <a:t>Why Polish: </a:t>
            </a:r>
            <a:r>
              <a:rPr lang="en-GB" sz="1600" dirty="0">
                <a:latin typeface="Century Gothic" panose="020B0502020202020204" pitchFamily="34" charset="0"/>
              </a:rPr>
              <a:t>To get good crystal surface to grow Epi. </a:t>
            </a:r>
          </a:p>
          <a:p>
            <a:pPr marL="268288" lvl="1" indent="-268288">
              <a:buClr>
                <a:schemeClr val="accent1"/>
              </a:buClr>
            </a:pPr>
            <a:r>
              <a:rPr lang="en-GB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No sub-surface damage </a:t>
            </a:r>
            <a:r>
              <a:rPr lang="en-GB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or contaminants. </a:t>
            </a:r>
          </a:p>
          <a:p>
            <a:pPr marL="268288" lvl="1" indent="-268288">
              <a:buClr>
                <a:schemeClr val="accent1"/>
              </a:buClr>
            </a:pPr>
            <a:r>
              <a:rPr lang="en-GB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Means: </a:t>
            </a:r>
            <a:r>
              <a:rPr lang="en-GB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Remove all defective material /nano-particles left by slicing/ grinding</a:t>
            </a:r>
          </a:p>
          <a:p>
            <a:pPr marL="268288" lvl="1" indent="-268288">
              <a:buClr>
                <a:schemeClr val="accent1"/>
              </a:buClr>
            </a:pPr>
            <a:r>
              <a:rPr lang="en-GB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In Practice: </a:t>
            </a:r>
            <a:r>
              <a:rPr lang="en-GB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CMP by design only targets surface/roughness.  </a:t>
            </a:r>
            <a:endParaRPr lang="de-DE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1997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15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29" imgH="330" progId="TCLayout.ActiveDocument.1">
                  <p:embed/>
                </p:oleObj>
              </mc:Choice>
              <mc:Fallback>
                <p:oleObj name="think-cell Folie" r:id="rId12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3200" dirty="0"/>
              <a:t>Plasma Polish</a:t>
            </a:r>
            <a:endParaRPr lang="en-US" sz="2400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5129402-D085-CD72-48BE-04C2454EBE3F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7</a:t>
            </a:fld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5" name="Content Placeholder 25">
            <a:extLst>
              <a:ext uri="{FF2B5EF4-FFF2-40B4-BE49-F238E27FC236}">
                <a16:creationId xmlns:a16="http://schemas.microsoft.com/office/drawing/2014/main" id="{3A246CF3-A98F-88D6-C97A-373A8D391F06}"/>
              </a:ext>
            </a:extLst>
          </p:cNvPr>
          <p:cNvSpPr txBox="1">
            <a:spLocks/>
          </p:cNvSpPr>
          <p:nvPr/>
        </p:nvSpPr>
        <p:spPr>
          <a:xfrm>
            <a:off x="299506" y="1271152"/>
            <a:ext cx="11761314" cy="419750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chemeClr val="accent1"/>
              </a:buClr>
              <a:buSzPct val="70000"/>
              <a:buFont typeface="Oxford Raleway" pitchFamily="2" charset="0"/>
              <a:buChar char="•"/>
              <a:defRPr sz="2400" kern="120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Oxford Raleway" pitchFamily="2" charset="0"/>
              <a:buChar char="•"/>
              <a:defRPr sz="2000" kern="1200">
                <a:solidFill>
                  <a:schemeClr val="accent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6"/>
              </a:buClr>
              <a:buSzPct val="70000"/>
              <a:buFont typeface="Oxford Raleway" pitchFamily="2" charset="0"/>
              <a:buChar char="•"/>
              <a:defRPr sz="180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Oxford Raleway" pitchFamily="2" charset="0"/>
              <a:buNone/>
            </a:pPr>
            <a:r>
              <a:rPr lang="en-GB" b="1" dirty="0">
                <a:solidFill>
                  <a:schemeClr val="accent2"/>
                </a:solidFill>
              </a:rPr>
              <a:t>An etch process to provide epi-ready surface in </a:t>
            </a:r>
            <a:r>
              <a:rPr lang="en-GB" b="1" dirty="0" err="1">
                <a:solidFill>
                  <a:schemeClr val="accent2"/>
                </a:solidFill>
              </a:rPr>
              <a:t>SiC</a:t>
            </a:r>
            <a:r>
              <a:rPr lang="en-GB" b="1" dirty="0">
                <a:solidFill>
                  <a:schemeClr val="accent2"/>
                </a:solidFill>
              </a:rPr>
              <a:t> substrate production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C6960A8-39E1-64A8-E341-D958B851F480}"/>
              </a:ext>
            </a:extLst>
          </p:cNvPr>
          <p:cNvSpPr/>
          <p:nvPr/>
        </p:nvSpPr>
        <p:spPr>
          <a:xfrm>
            <a:off x="326401" y="1757082"/>
            <a:ext cx="5213787" cy="44196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1" name="Content Placeholder 25">
            <a:extLst>
              <a:ext uri="{FF2B5EF4-FFF2-40B4-BE49-F238E27FC236}">
                <a16:creationId xmlns:a16="http://schemas.microsoft.com/office/drawing/2014/main" id="{81595C05-6C76-D27F-A245-F75F05C54E8B}"/>
              </a:ext>
            </a:extLst>
          </p:cNvPr>
          <p:cNvSpPr txBox="1">
            <a:spLocks/>
          </p:cNvSpPr>
          <p:nvPr/>
        </p:nvSpPr>
        <p:spPr>
          <a:xfrm>
            <a:off x="326401" y="1914231"/>
            <a:ext cx="5202318" cy="1310685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Clr>
                <a:schemeClr val="accent1"/>
              </a:buClr>
              <a:buNone/>
            </a:pPr>
            <a:r>
              <a:rPr lang="en-GB" sz="1800" dirty="0">
                <a:solidFill>
                  <a:schemeClr val="accent2"/>
                </a:solidFill>
                <a:latin typeface="Century Gothic" panose="020B0502020202020204" pitchFamily="34" charset="0"/>
              </a:rPr>
              <a:t>Proprietary process (patent pending)</a:t>
            </a:r>
          </a:p>
          <a:p>
            <a:pPr marL="0" indent="0">
              <a:spcAft>
                <a:spcPts val="1200"/>
              </a:spcAft>
              <a:buClr>
                <a:schemeClr val="accent1"/>
              </a:buClr>
              <a:buNone/>
            </a:pPr>
            <a:r>
              <a:rPr lang="en-GB" sz="1800" dirty="0">
                <a:solidFill>
                  <a:schemeClr val="accent2"/>
                </a:solidFill>
                <a:latin typeface="Century Gothic" panose="020B0502020202020204" pitchFamily="34" charset="0"/>
              </a:rPr>
              <a:t>Based on proven </a:t>
            </a:r>
            <a:r>
              <a:rPr lang="en-GB" sz="1800" dirty="0" err="1">
                <a:solidFill>
                  <a:schemeClr val="accent2"/>
                </a:solidFill>
                <a:latin typeface="Century Gothic" panose="020B0502020202020204" pitchFamily="34" charset="0"/>
              </a:rPr>
              <a:t>PlasmaPro</a:t>
            </a:r>
            <a:r>
              <a:rPr lang="en-GB" sz="1800" dirty="0">
                <a:solidFill>
                  <a:schemeClr val="accent2"/>
                </a:solidFill>
                <a:latin typeface="Century Gothic" panose="020B0502020202020204" pitchFamily="34" charset="0"/>
              </a:rPr>
              <a:t> 100 Cobra single wafer etch system with modified hardware</a:t>
            </a:r>
          </a:p>
        </p:txBody>
      </p:sp>
      <p:sp>
        <p:nvSpPr>
          <p:cNvPr id="32" name="Content Placeholder 25">
            <a:extLst>
              <a:ext uri="{FF2B5EF4-FFF2-40B4-BE49-F238E27FC236}">
                <a16:creationId xmlns:a16="http://schemas.microsoft.com/office/drawing/2014/main" id="{34AEE256-22DB-FC7C-3524-8414E5D3641D}"/>
              </a:ext>
            </a:extLst>
          </p:cNvPr>
          <p:cNvSpPr txBox="1">
            <a:spLocks/>
          </p:cNvSpPr>
          <p:nvPr/>
        </p:nvSpPr>
        <p:spPr>
          <a:xfrm>
            <a:off x="326401" y="3266950"/>
            <a:ext cx="5061387" cy="1310685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</a:pPr>
            <a:r>
              <a:rPr lang="en-GB" sz="1800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smooth / epi-ready surface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</a:pPr>
            <a:r>
              <a:rPr lang="en-GB" sz="1800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free of subsurface damage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</a:pPr>
            <a:r>
              <a:rPr lang="en-GB" sz="1800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reliable and consistent surface quality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</a:pPr>
            <a:r>
              <a:rPr lang="en-GB" sz="1800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low operating cost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</a:pPr>
            <a:r>
              <a:rPr lang="en-GB" sz="1800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clean process </a:t>
            </a:r>
            <a:r>
              <a:rPr lang="en-GB" sz="1800" dirty="0">
                <a:solidFill>
                  <a:schemeClr val="accent2"/>
                </a:solidFill>
                <a:latin typeface="Century Gothic" panose="020B0502020202020204" pitchFamily="34" charset="0"/>
              </a:rPr>
              <a:t>(standard process gas / abatement)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</a:pPr>
            <a:r>
              <a:rPr lang="en-GB" sz="1800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proven with </a:t>
            </a:r>
            <a:r>
              <a:rPr lang="en-GB" sz="1800" b="1" dirty="0" err="1">
                <a:solidFill>
                  <a:schemeClr val="accent2"/>
                </a:solidFill>
                <a:latin typeface="Century Gothic" panose="020B0502020202020204" pitchFamily="34" charset="0"/>
              </a:rPr>
              <a:t>SiC</a:t>
            </a:r>
            <a:r>
              <a:rPr lang="en-GB" sz="1800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 pin-Diodes and MOSFET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7D54218-23F0-A04F-8194-0D09FFF8F7D1}"/>
              </a:ext>
            </a:extLst>
          </p:cNvPr>
          <p:cNvSpPr/>
          <p:nvPr/>
        </p:nvSpPr>
        <p:spPr>
          <a:xfrm>
            <a:off x="5826868" y="1757082"/>
            <a:ext cx="6034504" cy="44196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35" name="Arrow: Chevron 28">
            <a:extLst>
              <a:ext uri="{FF2B5EF4-FFF2-40B4-BE49-F238E27FC236}">
                <a16:creationId xmlns:a16="http://schemas.microsoft.com/office/drawing/2014/main" id="{017DF1BC-808F-13A6-92A3-D339263610D9}"/>
              </a:ext>
            </a:extLst>
          </p:cNvPr>
          <p:cNvSpPr/>
          <p:nvPr/>
        </p:nvSpPr>
        <p:spPr>
          <a:xfrm>
            <a:off x="8110837" y="1896301"/>
            <a:ext cx="1441553" cy="871722"/>
          </a:xfrm>
          <a:prstGeom prst="chevron">
            <a:avLst>
              <a:gd name="adj" fmla="val 18458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7" name="Freeform: Shape 29">
            <a:extLst>
              <a:ext uri="{FF2B5EF4-FFF2-40B4-BE49-F238E27FC236}">
                <a16:creationId xmlns:a16="http://schemas.microsoft.com/office/drawing/2014/main" id="{DF6D5A68-CF85-A8B1-B66E-F08269E6B2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954875" y="1896301"/>
            <a:ext cx="1182708" cy="8717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74349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74349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49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5916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91626" y="0"/>
                </a:lnTo>
                <a:lnTo>
                  <a:pt x="1828800" y="457200"/>
                </a:lnTo>
                <a:lnTo>
                  <a:pt x="1591626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rtlCol="0" anchor="ctr"/>
          <a:lstStyle/>
          <a:p>
            <a:pPr algn="ctr"/>
            <a:endParaRPr lang="en-US" sz="1300" b="1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sp>
        <p:nvSpPr>
          <p:cNvPr id="48" name="TextBox 32">
            <a:extLst>
              <a:ext uri="{FF2B5EF4-FFF2-40B4-BE49-F238E27FC236}">
                <a16:creationId xmlns:a16="http://schemas.microsoft.com/office/drawing/2014/main" id="{F05A2085-9A85-B577-5A75-55E0AF8F6B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016947" y="1956838"/>
            <a:ext cx="967252" cy="750648"/>
          </a:xfrm>
          <a:prstGeom prst="rect">
            <a:avLst/>
          </a:prstGeom>
          <a:noFill/>
          <a:ln>
            <a:noFill/>
          </a:ln>
        </p:spPr>
        <p:txBody>
          <a:bodyPr vert="horz" lIns="27432" tIns="45720" rIns="91440" bIns="4572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Clr>
                <a:srgbClr val="FFFFFF"/>
              </a:buClr>
              <a:buNone/>
            </a:pPr>
            <a:r>
              <a:rPr lang="en-US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Crystal growth</a:t>
            </a:r>
          </a:p>
        </p:txBody>
      </p:sp>
      <p:sp>
        <p:nvSpPr>
          <p:cNvPr id="45" name="Freeform: Shape 38">
            <a:extLst>
              <a:ext uri="{FF2B5EF4-FFF2-40B4-BE49-F238E27FC236}">
                <a16:creationId xmlns:a16="http://schemas.microsoft.com/office/drawing/2014/main" id="{73D7BF26-81B6-94A2-5C07-45562395C24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032856" y="1896301"/>
            <a:ext cx="1182708" cy="8717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7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594747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20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837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7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591626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91626" y="0"/>
                </a:lnTo>
                <a:lnTo>
                  <a:pt x="1828800" y="457200"/>
                </a:lnTo>
                <a:lnTo>
                  <a:pt x="1591626" y="914400"/>
                </a:lnTo>
                <a:lnTo>
                  <a:pt x="0" y="914400"/>
                </a:lnTo>
                <a:lnTo>
                  <a:pt x="237174" y="45720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rtlCol="0" anchor="ctr"/>
          <a:lstStyle/>
          <a:p>
            <a:pPr algn="ctr"/>
            <a:endParaRPr lang="en-US" sz="1300" b="1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sp>
        <p:nvSpPr>
          <p:cNvPr id="46" name="TextBox 40">
            <a:extLst>
              <a:ext uri="{FF2B5EF4-FFF2-40B4-BE49-F238E27FC236}">
                <a16:creationId xmlns:a16="http://schemas.microsoft.com/office/drawing/2014/main" id="{3F8782E2-0278-40BB-B8D4-4045913691A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240087" y="1956838"/>
            <a:ext cx="967830" cy="750648"/>
          </a:xfrm>
          <a:prstGeom prst="rect">
            <a:avLst/>
          </a:prstGeom>
          <a:noFill/>
          <a:ln>
            <a:noFill/>
          </a:ln>
        </p:spPr>
        <p:txBody>
          <a:bodyPr vert="horz" lIns="27432" tIns="45720" rIns="91440" bIns="4572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Clr>
                <a:srgbClr val="FFFFFF"/>
              </a:buClr>
              <a:buNone/>
            </a:pPr>
            <a:r>
              <a:rPr lang="en-US" b="1">
                <a:solidFill>
                  <a:schemeClr val="accent2"/>
                </a:solidFill>
                <a:latin typeface="Century Gothic" panose="020B0502020202020204" pitchFamily="34" charset="0"/>
              </a:rPr>
              <a:t>Slicing and</a:t>
            </a:r>
            <a:br>
              <a:rPr lang="en-US" b="1">
                <a:solidFill>
                  <a:schemeClr val="accent2"/>
                </a:solidFill>
                <a:latin typeface="Century Gothic" panose="020B0502020202020204" pitchFamily="34" charset="0"/>
              </a:rPr>
            </a:br>
            <a:r>
              <a:rPr lang="en-US" b="1">
                <a:solidFill>
                  <a:schemeClr val="accent2"/>
                </a:solidFill>
                <a:latin typeface="Century Gothic" panose="020B0502020202020204" pitchFamily="34" charset="0"/>
              </a:rPr>
              <a:t>grinding </a:t>
            </a:r>
          </a:p>
        </p:txBody>
      </p:sp>
      <p:sp>
        <p:nvSpPr>
          <p:cNvPr id="43" name="Freeform: Shape 43">
            <a:extLst>
              <a:ext uri="{FF2B5EF4-FFF2-40B4-BE49-F238E27FC236}">
                <a16:creationId xmlns:a16="http://schemas.microsoft.com/office/drawing/2014/main" id="{1C3D7B1A-4062-F6FD-158E-8A15DB239B7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447664" y="1896301"/>
            <a:ext cx="1182708" cy="8717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79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7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7 w 1828800"/>
              <a:gd name="connsiteY5" fmla="*/ 457201 h 914400"/>
              <a:gd name="connsiteX0" fmla="*/ 0 w 1828800"/>
              <a:gd name="connsiteY0" fmla="*/ 0 h 914400"/>
              <a:gd name="connsiteX1" fmla="*/ 1633993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7 w 1828800"/>
              <a:gd name="connsiteY5" fmla="*/ 457201 h 914400"/>
              <a:gd name="connsiteX0" fmla="*/ 0 w 1828800"/>
              <a:gd name="connsiteY0" fmla="*/ 0 h 914400"/>
              <a:gd name="connsiteX1" fmla="*/ 1633993 w 1828800"/>
              <a:gd name="connsiteY1" fmla="*/ 0 h 914400"/>
              <a:gd name="connsiteX2" fmla="*/ 1828800 w 1828800"/>
              <a:gd name="connsiteY2" fmla="*/ 457200 h 914400"/>
              <a:gd name="connsiteX3" fmla="*/ 1633993 w 1828800"/>
              <a:gd name="connsiteY3" fmla="*/ 914400 h 914400"/>
              <a:gd name="connsiteX4" fmla="*/ 0 w 1828800"/>
              <a:gd name="connsiteY4" fmla="*/ 914400 h 914400"/>
              <a:gd name="connsiteX5" fmla="*/ 194807 w 1828800"/>
              <a:gd name="connsiteY5" fmla="*/ 457201 h 914400"/>
              <a:gd name="connsiteX0" fmla="*/ 0 w 1828800"/>
              <a:gd name="connsiteY0" fmla="*/ 0 h 914400"/>
              <a:gd name="connsiteX1" fmla="*/ 1633993 w 1828800"/>
              <a:gd name="connsiteY1" fmla="*/ 0 h 914400"/>
              <a:gd name="connsiteX2" fmla="*/ 1828800 w 1828800"/>
              <a:gd name="connsiteY2" fmla="*/ 457200 h 914400"/>
              <a:gd name="connsiteX3" fmla="*/ 1633993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633993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51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54451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199597 w 1828800"/>
              <a:gd name="connsiteY5" fmla="*/ 457201 h 914400"/>
              <a:gd name="connsiteX0" fmla="*/ 0 w 1828800"/>
              <a:gd name="connsiteY0" fmla="*/ 0 h 914400"/>
              <a:gd name="connsiteX1" fmla="*/ 1629203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629203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245080 w 1828800"/>
              <a:gd name="connsiteY5" fmla="*/ 457201 h 914400"/>
              <a:gd name="connsiteX0" fmla="*/ 0 w 1828800"/>
              <a:gd name="connsiteY0" fmla="*/ 0 h 914400"/>
              <a:gd name="connsiteX1" fmla="*/ 1583718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837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230209 w 1828800"/>
              <a:gd name="connsiteY5" fmla="*/ 457201 h 914400"/>
              <a:gd name="connsiteX0" fmla="*/ 0 w 1828800"/>
              <a:gd name="connsiteY0" fmla="*/ 0 h 914400"/>
              <a:gd name="connsiteX1" fmla="*/ 1598591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859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6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6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38526 w 1828800"/>
              <a:gd name="connsiteY5" fmla="*/ 457201 h 914400"/>
              <a:gd name="connsiteX0" fmla="*/ 0 w 1828800"/>
              <a:gd name="connsiteY0" fmla="*/ 0 h 914400"/>
              <a:gd name="connsiteX1" fmla="*/ 159027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3 w 1828800"/>
              <a:gd name="connsiteY1" fmla="*/ 0 h 914400"/>
              <a:gd name="connsiteX2" fmla="*/ 1828800 w 1828800"/>
              <a:gd name="connsiteY2" fmla="*/ 457200 h 914400"/>
              <a:gd name="connsiteX3" fmla="*/ 159027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3 w 1828800"/>
              <a:gd name="connsiteY1" fmla="*/ 0 h 914400"/>
              <a:gd name="connsiteX2" fmla="*/ 1828800 w 1828800"/>
              <a:gd name="connsiteY2" fmla="*/ 457200 h 914400"/>
              <a:gd name="connsiteX3" fmla="*/ 1613483 w 1828800"/>
              <a:gd name="connsiteY3" fmla="*/ 914400 h 914400"/>
              <a:gd name="connsiteX4" fmla="*/ 0 w 1828800"/>
              <a:gd name="connsiteY4" fmla="*/ 914400 h 914400"/>
              <a:gd name="connsiteX5" fmla="*/ 215319 w 1828800"/>
              <a:gd name="connsiteY5" fmla="*/ 457201 h 914400"/>
              <a:gd name="connsiteX0" fmla="*/ 0 w 1828800"/>
              <a:gd name="connsiteY0" fmla="*/ 0 h 914400"/>
              <a:gd name="connsiteX1" fmla="*/ 1613483 w 1828800"/>
              <a:gd name="connsiteY1" fmla="*/ 0 h 914400"/>
              <a:gd name="connsiteX2" fmla="*/ 1828800 w 1828800"/>
              <a:gd name="connsiteY2" fmla="*/ 457200 h 914400"/>
              <a:gd name="connsiteX3" fmla="*/ 1613483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613483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591626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91626" y="0"/>
                </a:lnTo>
                <a:lnTo>
                  <a:pt x="1828800" y="457200"/>
                </a:lnTo>
                <a:lnTo>
                  <a:pt x="1591626" y="914400"/>
                </a:lnTo>
                <a:lnTo>
                  <a:pt x="0" y="914400"/>
                </a:lnTo>
                <a:lnTo>
                  <a:pt x="237174" y="45720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rtlCol="0" anchor="ctr"/>
          <a:lstStyle/>
          <a:p>
            <a:pPr algn="ctr"/>
            <a:endParaRPr lang="en-US" sz="1300" b="1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sp>
        <p:nvSpPr>
          <p:cNvPr id="44" name="TextBox 44">
            <a:extLst>
              <a:ext uri="{FF2B5EF4-FFF2-40B4-BE49-F238E27FC236}">
                <a16:creationId xmlns:a16="http://schemas.microsoft.com/office/drawing/2014/main" id="{AE995A8E-563D-2B27-EC90-F6FE406975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646515" y="1956838"/>
            <a:ext cx="826283" cy="750648"/>
          </a:xfrm>
          <a:prstGeom prst="rect">
            <a:avLst/>
          </a:prstGeom>
          <a:noFill/>
          <a:ln>
            <a:noFill/>
          </a:ln>
        </p:spPr>
        <p:txBody>
          <a:bodyPr vert="horz" lIns="27432" tIns="45720" rIns="91440" bIns="4572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buClr>
                <a:srgbClr val="FFFFFF"/>
              </a:buClr>
              <a:buNone/>
            </a:pPr>
            <a:r>
              <a:rPr lang="en-US" b="1">
                <a:solidFill>
                  <a:schemeClr val="accent2"/>
                </a:solidFill>
                <a:latin typeface="Century Gothic" panose="020B0502020202020204" pitchFamily="34" charset="0"/>
              </a:rPr>
              <a:t>EPI</a:t>
            </a:r>
          </a:p>
        </p:txBody>
      </p:sp>
      <p:sp>
        <p:nvSpPr>
          <p:cNvPr id="41" name="Freeform: Shape 59">
            <a:extLst>
              <a:ext uri="{FF2B5EF4-FFF2-40B4-BE49-F238E27FC236}">
                <a16:creationId xmlns:a16="http://schemas.microsoft.com/office/drawing/2014/main" id="{0CF886D8-5E2B-2099-5D5E-3C6FB24CEE8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525646" y="1896301"/>
            <a:ext cx="1182708" cy="8717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232258 w 1828800"/>
              <a:gd name="connsiteY5" fmla="*/ 457200 h 914400"/>
              <a:gd name="connsiteX0" fmla="*/ 0 w 1828800"/>
              <a:gd name="connsiteY0" fmla="*/ 0 h 914400"/>
              <a:gd name="connsiteX1" fmla="*/ 1596542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59654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225980 w 1828800"/>
              <a:gd name="connsiteY5" fmla="*/ 457200 h 914400"/>
              <a:gd name="connsiteX0" fmla="*/ 0 w 1828800"/>
              <a:gd name="connsiteY0" fmla="*/ 0 h 914400"/>
              <a:gd name="connsiteX1" fmla="*/ 1602820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60282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238894 w 1828800"/>
              <a:gd name="connsiteY5" fmla="*/ 457200 h 914400"/>
              <a:gd name="connsiteX0" fmla="*/ 0 w 1828800"/>
              <a:gd name="connsiteY0" fmla="*/ 0 h 914400"/>
              <a:gd name="connsiteX1" fmla="*/ 1589906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99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45920 w 1828800"/>
              <a:gd name="connsiteY5" fmla="*/ 457200 h 914400"/>
              <a:gd name="connsiteX0" fmla="*/ 0 w 1828800"/>
              <a:gd name="connsiteY0" fmla="*/ 0 h 914400"/>
              <a:gd name="connsiteX1" fmla="*/ 1582880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582880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206884 w 1828800"/>
              <a:gd name="connsiteY5" fmla="*/ 457201 h 914400"/>
              <a:gd name="connsiteX0" fmla="*/ 0 w 1828800"/>
              <a:gd name="connsiteY0" fmla="*/ 0 h 914400"/>
              <a:gd name="connsiteX1" fmla="*/ 1621916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21916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194808 w 1828800"/>
              <a:gd name="connsiteY5" fmla="*/ 457201 h 914400"/>
              <a:gd name="connsiteX0" fmla="*/ 0 w 1828800"/>
              <a:gd name="connsiteY0" fmla="*/ 0 h 914400"/>
              <a:gd name="connsiteX1" fmla="*/ 163399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63399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349598 w 1828800"/>
              <a:gd name="connsiteY5" fmla="*/ 457201 h 914400"/>
              <a:gd name="connsiteX0" fmla="*/ 0 w 1828800"/>
              <a:gd name="connsiteY0" fmla="*/ 0 h 914400"/>
              <a:gd name="connsiteX1" fmla="*/ 1479202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479202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270863 w 1828800"/>
              <a:gd name="connsiteY5" fmla="*/ 457201 h 914400"/>
              <a:gd name="connsiteX0" fmla="*/ 0 w 1828800"/>
              <a:gd name="connsiteY0" fmla="*/ 0 h 914400"/>
              <a:gd name="connsiteX1" fmla="*/ 1557937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5793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258065 w 1828800"/>
              <a:gd name="connsiteY5" fmla="*/ 457201 h 914400"/>
              <a:gd name="connsiteX0" fmla="*/ 0 w 1828800"/>
              <a:gd name="connsiteY0" fmla="*/ 0 h 914400"/>
              <a:gd name="connsiteX1" fmla="*/ 1570735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7073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263560 w 1828800"/>
              <a:gd name="connsiteY5" fmla="*/ 457201 h 914400"/>
              <a:gd name="connsiteX0" fmla="*/ 0 w 1828800"/>
              <a:gd name="connsiteY0" fmla="*/ 0 h 914400"/>
              <a:gd name="connsiteX1" fmla="*/ 1565240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6524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74351 w 1828800"/>
              <a:gd name="connsiteY5" fmla="*/ 457201 h 914400"/>
              <a:gd name="connsiteX0" fmla="*/ 0 w 1828800"/>
              <a:gd name="connsiteY0" fmla="*/ 0 h 914400"/>
              <a:gd name="connsiteX1" fmla="*/ 15544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544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234053 w 1828800"/>
              <a:gd name="connsiteY5" fmla="*/ 457201 h 914400"/>
              <a:gd name="connsiteX0" fmla="*/ 0 w 1828800"/>
              <a:gd name="connsiteY0" fmla="*/ 0 h 914400"/>
              <a:gd name="connsiteX1" fmla="*/ 1594749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594749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84244 w 1828800"/>
              <a:gd name="connsiteY5" fmla="*/ 457201 h 914400"/>
              <a:gd name="connsiteX0" fmla="*/ 0 w 1828800"/>
              <a:gd name="connsiteY0" fmla="*/ 0 h 914400"/>
              <a:gd name="connsiteX1" fmla="*/ 1644556 w 1828800"/>
              <a:gd name="connsiteY1" fmla="*/ 0 h 914400"/>
              <a:gd name="connsiteX2" fmla="*/ 1828800 w 1828800"/>
              <a:gd name="connsiteY2" fmla="*/ 457200 h 914400"/>
              <a:gd name="connsiteX3" fmla="*/ 1644556 w 1828800"/>
              <a:gd name="connsiteY3" fmla="*/ 914400 h 914400"/>
              <a:gd name="connsiteX4" fmla="*/ 0 w 1828800"/>
              <a:gd name="connsiteY4" fmla="*/ 914400 h 914400"/>
              <a:gd name="connsiteX5" fmla="*/ 158671 w 1828800"/>
              <a:gd name="connsiteY5" fmla="*/ 457201 h 914400"/>
              <a:gd name="connsiteX0" fmla="*/ 0 w 1902704"/>
              <a:gd name="connsiteY0" fmla="*/ 0 h 914400"/>
              <a:gd name="connsiteX1" fmla="*/ 1902704 w 1902704"/>
              <a:gd name="connsiteY1" fmla="*/ 0 h 914400"/>
              <a:gd name="connsiteX2" fmla="*/ 1828800 w 1902704"/>
              <a:gd name="connsiteY2" fmla="*/ 457200 h 914400"/>
              <a:gd name="connsiteX3" fmla="*/ 1644556 w 1902704"/>
              <a:gd name="connsiteY3" fmla="*/ 914400 h 914400"/>
              <a:gd name="connsiteX4" fmla="*/ 0 w 1902704"/>
              <a:gd name="connsiteY4" fmla="*/ 914400 h 914400"/>
              <a:gd name="connsiteX5" fmla="*/ 158671 w 1902704"/>
              <a:gd name="connsiteY5" fmla="*/ 457201 h 914400"/>
              <a:gd name="connsiteX0" fmla="*/ 0 w 1902704"/>
              <a:gd name="connsiteY0" fmla="*/ 0 h 914400"/>
              <a:gd name="connsiteX1" fmla="*/ 1902704 w 1902704"/>
              <a:gd name="connsiteY1" fmla="*/ 0 h 914400"/>
              <a:gd name="connsiteX2" fmla="*/ 1828800 w 1902704"/>
              <a:gd name="connsiteY2" fmla="*/ 457200 h 914400"/>
              <a:gd name="connsiteX3" fmla="*/ 1902702 w 1902704"/>
              <a:gd name="connsiteY3" fmla="*/ 914400 h 914400"/>
              <a:gd name="connsiteX4" fmla="*/ 0 w 1902704"/>
              <a:gd name="connsiteY4" fmla="*/ 914400 h 914400"/>
              <a:gd name="connsiteX5" fmla="*/ 158671 w 1902704"/>
              <a:gd name="connsiteY5" fmla="*/ 457201 h 914400"/>
              <a:gd name="connsiteX0" fmla="*/ 0 w 1902704"/>
              <a:gd name="connsiteY0" fmla="*/ 0 h 914400"/>
              <a:gd name="connsiteX1" fmla="*/ 1902704 w 1902704"/>
              <a:gd name="connsiteY1" fmla="*/ 0 h 914400"/>
              <a:gd name="connsiteX2" fmla="*/ 1828800 w 1902704"/>
              <a:gd name="connsiteY2" fmla="*/ 457200 h 914400"/>
              <a:gd name="connsiteX3" fmla="*/ 1902702 w 1902704"/>
              <a:gd name="connsiteY3" fmla="*/ 914400 h 914400"/>
              <a:gd name="connsiteX4" fmla="*/ 0 w 1902704"/>
              <a:gd name="connsiteY4" fmla="*/ 914400 h 914400"/>
              <a:gd name="connsiteX5" fmla="*/ 158671 w 1902704"/>
              <a:gd name="connsiteY5" fmla="*/ 457201 h 914400"/>
              <a:gd name="connsiteX0" fmla="*/ 0 w 1902702"/>
              <a:gd name="connsiteY0" fmla="*/ 0 h 914400"/>
              <a:gd name="connsiteX1" fmla="*/ 1744033 w 1902702"/>
              <a:gd name="connsiteY1" fmla="*/ 0 h 914400"/>
              <a:gd name="connsiteX2" fmla="*/ 1828800 w 1902702"/>
              <a:gd name="connsiteY2" fmla="*/ 457200 h 914400"/>
              <a:gd name="connsiteX3" fmla="*/ 1902702 w 1902702"/>
              <a:gd name="connsiteY3" fmla="*/ 914400 h 914400"/>
              <a:gd name="connsiteX4" fmla="*/ 0 w 1902702"/>
              <a:gd name="connsiteY4" fmla="*/ 914400 h 914400"/>
              <a:gd name="connsiteX5" fmla="*/ 158671 w 1902702"/>
              <a:gd name="connsiteY5" fmla="*/ 457201 h 914400"/>
              <a:gd name="connsiteX0" fmla="*/ 0 w 1828800"/>
              <a:gd name="connsiteY0" fmla="*/ 0 h 914400"/>
              <a:gd name="connsiteX1" fmla="*/ 1744033 w 1828800"/>
              <a:gd name="connsiteY1" fmla="*/ 0 h 914400"/>
              <a:gd name="connsiteX2" fmla="*/ 1828800 w 1828800"/>
              <a:gd name="connsiteY2" fmla="*/ 457200 h 914400"/>
              <a:gd name="connsiteX3" fmla="*/ 1744034 w 1828800"/>
              <a:gd name="connsiteY3" fmla="*/ 914400 h 914400"/>
              <a:gd name="connsiteX4" fmla="*/ 0 w 1828800"/>
              <a:gd name="connsiteY4" fmla="*/ 914400 h 914400"/>
              <a:gd name="connsiteX5" fmla="*/ 158671 w 1828800"/>
              <a:gd name="connsiteY5" fmla="*/ 457201 h 914400"/>
              <a:gd name="connsiteX0" fmla="*/ 0 w 1828800"/>
              <a:gd name="connsiteY0" fmla="*/ 0 h 914400"/>
              <a:gd name="connsiteX1" fmla="*/ 1744033 w 1828800"/>
              <a:gd name="connsiteY1" fmla="*/ 0 h 914400"/>
              <a:gd name="connsiteX2" fmla="*/ 1828800 w 1828800"/>
              <a:gd name="connsiteY2" fmla="*/ 457200 h 914400"/>
              <a:gd name="connsiteX3" fmla="*/ 1744034 w 1828800"/>
              <a:gd name="connsiteY3" fmla="*/ 914400 h 914400"/>
              <a:gd name="connsiteX4" fmla="*/ 0 w 1828800"/>
              <a:gd name="connsiteY4" fmla="*/ 914400 h 914400"/>
              <a:gd name="connsiteX5" fmla="*/ 158671 w 1828800"/>
              <a:gd name="connsiteY5" fmla="*/ 457201 h 914400"/>
              <a:gd name="connsiteX0" fmla="*/ 0 w 1828800"/>
              <a:gd name="connsiteY0" fmla="*/ 0 h 914400"/>
              <a:gd name="connsiteX1" fmla="*/ 1670129 w 1828800"/>
              <a:gd name="connsiteY1" fmla="*/ 0 h 914400"/>
              <a:gd name="connsiteX2" fmla="*/ 1828800 w 1828800"/>
              <a:gd name="connsiteY2" fmla="*/ 457200 h 914400"/>
              <a:gd name="connsiteX3" fmla="*/ 1744034 w 1828800"/>
              <a:gd name="connsiteY3" fmla="*/ 914400 h 914400"/>
              <a:gd name="connsiteX4" fmla="*/ 0 w 1828800"/>
              <a:gd name="connsiteY4" fmla="*/ 914400 h 914400"/>
              <a:gd name="connsiteX5" fmla="*/ 158671 w 1828800"/>
              <a:gd name="connsiteY5" fmla="*/ 457201 h 914400"/>
              <a:gd name="connsiteX0" fmla="*/ 0 w 1828800"/>
              <a:gd name="connsiteY0" fmla="*/ 0 h 914400"/>
              <a:gd name="connsiteX1" fmla="*/ 1670129 w 1828800"/>
              <a:gd name="connsiteY1" fmla="*/ 0 h 914400"/>
              <a:gd name="connsiteX2" fmla="*/ 1828800 w 1828800"/>
              <a:gd name="connsiteY2" fmla="*/ 457200 h 914400"/>
              <a:gd name="connsiteX3" fmla="*/ 1670129 w 1828800"/>
              <a:gd name="connsiteY3" fmla="*/ 914400 h 914400"/>
              <a:gd name="connsiteX4" fmla="*/ 0 w 1828800"/>
              <a:gd name="connsiteY4" fmla="*/ 914400 h 914400"/>
              <a:gd name="connsiteX5" fmla="*/ 158671 w 1828800"/>
              <a:gd name="connsiteY5" fmla="*/ 457201 h 914400"/>
              <a:gd name="connsiteX0" fmla="*/ 0 w 1828800"/>
              <a:gd name="connsiteY0" fmla="*/ 0 h 914400"/>
              <a:gd name="connsiteX1" fmla="*/ 1670129 w 1828800"/>
              <a:gd name="connsiteY1" fmla="*/ 0 h 914400"/>
              <a:gd name="connsiteX2" fmla="*/ 1828800 w 1828800"/>
              <a:gd name="connsiteY2" fmla="*/ 457200 h 914400"/>
              <a:gd name="connsiteX3" fmla="*/ 1670129 w 1828800"/>
              <a:gd name="connsiteY3" fmla="*/ 914400 h 914400"/>
              <a:gd name="connsiteX4" fmla="*/ 0 w 1828800"/>
              <a:gd name="connsiteY4" fmla="*/ 914400 h 914400"/>
              <a:gd name="connsiteX5" fmla="*/ 146243 w 1828800"/>
              <a:gd name="connsiteY5" fmla="*/ 457201 h 914400"/>
              <a:gd name="connsiteX0" fmla="*/ 0 w 1851467"/>
              <a:gd name="connsiteY0" fmla="*/ 0 h 914400"/>
              <a:gd name="connsiteX1" fmla="*/ 1851467 w 1851467"/>
              <a:gd name="connsiteY1" fmla="*/ 0 h 914400"/>
              <a:gd name="connsiteX2" fmla="*/ 1828800 w 1851467"/>
              <a:gd name="connsiteY2" fmla="*/ 457200 h 914400"/>
              <a:gd name="connsiteX3" fmla="*/ 1670129 w 1851467"/>
              <a:gd name="connsiteY3" fmla="*/ 914400 h 914400"/>
              <a:gd name="connsiteX4" fmla="*/ 0 w 1851467"/>
              <a:gd name="connsiteY4" fmla="*/ 914400 h 914400"/>
              <a:gd name="connsiteX5" fmla="*/ 146243 w 1851467"/>
              <a:gd name="connsiteY5" fmla="*/ 457201 h 914400"/>
              <a:gd name="connsiteX0" fmla="*/ 0 w 1851467"/>
              <a:gd name="connsiteY0" fmla="*/ 0 h 914400"/>
              <a:gd name="connsiteX1" fmla="*/ 1851467 w 1851467"/>
              <a:gd name="connsiteY1" fmla="*/ 0 h 914400"/>
              <a:gd name="connsiteX2" fmla="*/ 1828800 w 1851467"/>
              <a:gd name="connsiteY2" fmla="*/ 457200 h 914400"/>
              <a:gd name="connsiteX3" fmla="*/ 1851467 w 1851467"/>
              <a:gd name="connsiteY3" fmla="*/ 914400 h 914400"/>
              <a:gd name="connsiteX4" fmla="*/ 0 w 1851467"/>
              <a:gd name="connsiteY4" fmla="*/ 914400 h 914400"/>
              <a:gd name="connsiteX5" fmla="*/ 146243 w 1851467"/>
              <a:gd name="connsiteY5" fmla="*/ 457201 h 914400"/>
              <a:gd name="connsiteX0" fmla="*/ 0 w 1851467"/>
              <a:gd name="connsiteY0" fmla="*/ 0 h 914400"/>
              <a:gd name="connsiteX1" fmla="*/ 1851467 w 1851467"/>
              <a:gd name="connsiteY1" fmla="*/ 0 h 914400"/>
              <a:gd name="connsiteX2" fmla="*/ 1828800 w 1851467"/>
              <a:gd name="connsiteY2" fmla="*/ 457200 h 914400"/>
              <a:gd name="connsiteX3" fmla="*/ 1851467 w 1851467"/>
              <a:gd name="connsiteY3" fmla="*/ 914400 h 914400"/>
              <a:gd name="connsiteX4" fmla="*/ 0 w 1851467"/>
              <a:gd name="connsiteY4" fmla="*/ 914400 h 914400"/>
              <a:gd name="connsiteX5" fmla="*/ 146243 w 1851467"/>
              <a:gd name="connsiteY5" fmla="*/ 457201 h 914400"/>
              <a:gd name="connsiteX0" fmla="*/ 0 w 1851467"/>
              <a:gd name="connsiteY0" fmla="*/ 0 h 914400"/>
              <a:gd name="connsiteX1" fmla="*/ 1705224 w 1851467"/>
              <a:gd name="connsiteY1" fmla="*/ 0 h 914400"/>
              <a:gd name="connsiteX2" fmla="*/ 1828800 w 1851467"/>
              <a:gd name="connsiteY2" fmla="*/ 457200 h 914400"/>
              <a:gd name="connsiteX3" fmla="*/ 1851467 w 1851467"/>
              <a:gd name="connsiteY3" fmla="*/ 914400 h 914400"/>
              <a:gd name="connsiteX4" fmla="*/ 0 w 1851467"/>
              <a:gd name="connsiteY4" fmla="*/ 914400 h 914400"/>
              <a:gd name="connsiteX5" fmla="*/ 146243 w 1851467"/>
              <a:gd name="connsiteY5" fmla="*/ 457201 h 914400"/>
              <a:gd name="connsiteX0" fmla="*/ 0 w 1828800"/>
              <a:gd name="connsiteY0" fmla="*/ 0 h 914400"/>
              <a:gd name="connsiteX1" fmla="*/ 1705224 w 1828800"/>
              <a:gd name="connsiteY1" fmla="*/ 0 h 914400"/>
              <a:gd name="connsiteX2" fmla="*/ 1828800 w 1828800"/>
              <a:gd name="connsiteY2" fmla="*/ 457200 h 914400"/>
              <a:gd name="connsiteX3" fmla="*/ 1705224 w 1828800"/>
              <a:gd name="connsiteY3" fmla="*/ 914400 h 914400"/>
              <a:gd name="connsiteX4" fmla="*/ 0 w 1828800"/>
              <a:gd name="connsiteY4" fmla="*/ 914400 h 914400"/>
              <a:gd name="connsiteX5" fmla="*/ 146243 w 1828800"/>
              <a:gd name="connsiteY5" fmla="*/ 457201 h 914400"/>
              <a:gd name="connsiteX0" fmla="*/ 0 w 1828800"/>
              <a:gd name="connsiteY0" fmla="*/ 0 h 914400"/>
              <a:gd name="connsiteX1" fmla="*/ 1705224 w 1828800"/>
              <a:gd name="connsiteY1" fmla="*/ 0 h 914400"/>
              <a:gd name="connsiteX2" fmla="*/ 1828800 w 1828800"/>
              <a:gd name="connsiteY2" fmla="*/ 457200 h 914400"/>
              <a:gd name="connsiteX3" fmla="*/ 1705224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51881 w 1828800"/>
              <a:gd name="connsiteY1" fmla="*/ 0 h 914400"/>
              <a:gd name="connsiteX2" fmla="*/ 1828800 w 1828800"/>
              <a:gd name="connsiteY2" fmla="*/ 457200 h 914400"/>
              <a:gd name="connsiteX3" fmla="*/ 1705224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51881 w 1828800"/>
              <a:gd name="connsiteY1" fmla="*/ 0 h 914400"/>
              <a:gd name="connsiteX2" fmla="*/ 1828800 w 1828800"/>
              <a:gd name="connsiteY2" fmla="*/ 457200 h 914400"/>
              <a:gd name="connsiteX3" fmla="*/ 1651881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51881 w 1828800"/>
              <a:gd name="connsiteY1" fmla="*/ 0 h 914400"/>
              <a:gd name="connsiteX2" fmla="*/ 1828800 w 1828800"/>
              <a:gd name="connsiteY2" fmla="*/ 457200 h 914400"/>
              <a:gd name="connsiteX3" fmla="*/ 165188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5188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179568 w 1828800"/>
              <a:gd name="connsiteY5" fmla="*/ 457201 h 914400"/>
              <a:gd name="connsiteX0" fmla="*/ 0 w 1828800"/>
              <a:gd name="connsiteY0" fmla="*/ 0 h 914400"/>
              <a:gd name="connsiteX1" fmla="*/ 1649232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758541 w 1828800"/>
              <a:gd name="connsiteY1" fmla="*/ 0 h 914400"/>
              <a:gd name="connsiteX2" fmla="*/ 1828800 w 1828800"/>
              <a:gd name="connsiteY2" fmla="*/ 457200 h 914400"/>
              <a:gd name="connsiteX3" fmla="*/ 1649232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758541 w 1828800"/>
              <a:gd name="connsiteY1" fmla="*/ 0 h 914400"/>
              <a:gd name="connsiteX2" fmla="*/ 1828800 w 1828800"/>
              <a:gd name="connsiteY2" fmla="*/ 457200 h 914400"/>
              <a:gd name="connsiteX3" fmla="*/ 1758541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758541 w 1828800"/>
              <a:gd name="connsiteY1" fmla="*/ 0 h 914400"/>
              <a:gd name="connsiteX2" fmla="*/ 1828800 w 1828800"/>
              <a:gd name="connsiteY2" fmla="*/ 457200 h 914400"/>
              <a:gd name="connsiteX3" fmla="*/ 1758541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660128 w 1828800"/>
              <a:gd name="connsiteY1" fmla="*/ 0 h 914400"/>
              <a:gd name="connsiteX2" fmla="*/ 1828800 w 1828800"/>
              <a:gd name="connsiteY2" fmla="*/ 457200 h 914400"/>
              <a:gd name="connsiteX3" fmla="*/ 1758541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660128 w 1828800"/>
              <a:gd name="connsiteY1" fmla="*/ 0 h 914400"/>
              <a:gd name="connsiteX2" fmla="*/ 1828800 w 1828800"/>
              <a:gd name="connsiteY2" fmla="*/ 457200 h 914400"/>
              <a:gd name="connsiteX3" fmla="*/ 1660128 w 1828800"/>
              <a:gd name="connsiteY3" fmla="*/ 914400 h 914400"/>
              <a:gd name="connsiteX4" fmla="*/ 0 w 1828800"/>
              <a:gd name="connsiteY4" fmla="*/ 914400 h 914400"/>
              <a:gd name="connsiteX5" fmla="*/ 168672 w 1828800"/>
              <a:gd name="connsiteY5" fmla="*/ 457201 h 914400"/>
              <a:gd name="connsiteX0" fmla="*/ 0 w 1828800"/>
              <a:gd name="connsiteY0" fmla="*/ 0 h 914400"/>
              <a:gd name="connsiteX1" fmla="*/ 1660128 w 1828800"/>
              <a:gd name="connsiteY1" fmla="*/ 0 h 914400"/>
              <a:gd name="connsiteX2" fmla="*/ 1828800 w 1828800"/>
              <a:gd name="connsiteY2" fmla="*/ 457200 h 914400"/>
              <a:gd name="connsiteX3" fmla="*/ 1660128 w 1828800"/>
              <a:gd name="connsiteY3" fmla="*/ 914400 h 914400"/>
              <a:gd name="connsiteX4" fmla="*/ 0 w 1828800"/>
              <a:gd name="connsiteY4" fmla="*/ 914400 h 914400"/>
              <a:gd name="connsiteX5" fmla="*/ 174766 w 1828800"/>
              <a:gd name="connsiteY5" fmla="*/ 457201 h 914400"/>
              <a:gd name="connsiteX0" fmla="*/ 0 w 1963352"/>
              <a:gd name="connsiteY0" fmla="*/ 0 h 914400"/>
              <a:gd name="connsiteX1" fmla="*/ 1963352 w 1963352"/>
              <a:gd name="connsiteY1" fmla="*/ 0 h 914400"/>
              <a:gd name="connsiteX2" fmla="*/ 1828800 w 1963352"/>
              <a:gd name="connsiteY2" fmla="*/ 457200 h 914400"/>
              <a:gd name="connsiteX3" fmla="*/ 1660128 w 1963352"/>
              <a:gd name="connsiteY3" fmla="*/ 914400 h 914400"/>
              <a:gd name="connsiteX4" fmla="*/ 0 w 1963352"/>
              <a:gd name="connsiteY4" fmla="*/ 914400 h 914400"/>
              <a:gd name="connsiteX5" fmla="*/ 174766 w 1963352"/>
              <a:gd name="connsiteY5" fmla="*/ 457201 h 914400"/>
              <a:gd name="connsiteX0" fmla="*/ 0 w 1963352"/>
              <a:gd name="connsiteY0" fmla="*/ 0 h 914400"/>
              <a:gd name="connsiteX1" fmla="*/ 1963352 w 1963352"/>
              <a:gd name="connsiteY1" fmla="*/ 0 h 914400"/>
              <a:gd name="connsiteX2" fmla="*/ 1828800 w 1963352"/>
              <a:gd name="connsiteY2" fmla="*/ 457200 h 914400"/>
              <a:gd name="connsiteX3" fmla="*/ 1963351 w 1963352"/>
              <a:gd name="connsiteY3" fmla="*/ 914400 h 914400"/>
              <a:gd name="connsiteX4" fmla="*/ 0 w 1963352"/>
              <a:gd name="connsiteY4" fmla="*/ 914400 h 914400"/>
              <a:gd name="connsiteX5" fmla="*/ 174766 w 1963352"/>
              <a:gd name="connsiteY5" fmla="*/ 457201 h 914400"/>
              <a:gd name="connsiteX0" fmla="*/ 0 w 1963352"/>
              <a:gd name="connsiteY0" fmla="*/ 0 h 914400"/>
              <a:gd name="connsiteX1" fmla="*/ 1963352 w 1963352"/>
              <a:gd name="connsiteY1" fmla="*/ 0 h 914400"/>
              <a:gd name="connsiteX2" fmla="*/ 1828800 w 1963352"/>
              <a:gd name="connsiteY2" fmla="*/ 457200 h 914400"/>
              <a:gd name="connsiteX3" fmla="*/ 1963351 w 1963352"/>
              <a:gd name="connsiteY3" fmla="*/ 914400 h 914400"/>
              <a:gd name="connsiteX4" fmla="*/ 0 w 1963352"/>
              <a:gd name="connsiteY4" fmla="*/ 914400 h 914400"/>
              <a:gd name="connsiteX5" fmla="*/ 174765 w 1963352"/>
              <a:gd name="connsiteY5" fmla="*/ 457201 h 914400"/>
              <a:gd name="connsiteX0" fmla="*/ 0 w 1963351"/>
              <a:gd name="connsiteY0" fmla="*/ 0 h 914400"/>
              <a:gd name="connsiteX1" fmla="*/ 1788586 w 1963351"/>
              <a:gd name="connsiteY1" fmla="*/ 0 h 914400"/>
              <a:gd name="connsiteX2" fmla="*/ 1828800 w 1963351"/>
              <a:gd name="connsiteY2" fmla="*/ 457200 h 914400"/>
              <a:gd name="connsiteX3" fmla="*/ 1963351 w 1963351"/>
              <a:gd name="connsiteY3" fmla="*/ 914400 h 914400"/>
              <a:gd name="connsiteX4" fmla="*/ 0 w 1963351"/>
              <a:gd name="connsiteY4" fmla="*/ 914400 h 914400"/>
              <a:gd name="connsiteX5" fmla="*/ 174765 w 1963351"/>
              <a:gd name="connsiteY5" fmla="*/ 457201 h 914400"/>
              <a:gd name="connsiteX0" fmla="*/ 0 w 1828800"/>
              <a:gd name="connsiteY0" fmla="*/ 0 h 914400"/>
              <a:gd name="connsiteX1" fmla="*/ 1788586 w 1828800"/>
              <a:gd name="connsiteY1" fmla="*/ 0 h 914400"/>
              <a:gd name="connsiteX2" fmla="*/ 1828800 w 1828800"/>
              <a:gd name="connsiteY2" fmla="*/ 457200 h 914400"/>
              <a:gd name="connsiteX3" fmla="*/ 1788587 w 1828800"/>
              <a:gd name="connsiteY3" fmla="*/ 914400 h 914400"/>
              <a:gd name="connsiteX4" fmla="*/ 0 w 1828800"/>
              <a:gd name="connsiteY4" fmla="*/ 914400 h 914400"/>
              <a:gd name="connsiteX5" fmla="*/ 174765 w 1828800"/>
              <a:gd name="connsiteY5" fmla="*/ 457201 h 914400"/>
              <a:gd name="connsiteX0" fmla="*/ 0 w 1828800"/>
              <a:gd name="connsiteY0" fmla="*/ 0 h 914400"/>
              <a:gd name="connsiteX1" fmla="*/ 1788586 w 1828800"/>
              <a:gd name="connsiteY1" fmla="*/ 0 h 914400"/>
              <a:gd name="connsiteX2" fmla="*/ 1828800 w 1828800"/>
              <a:gd name="connsiteY2" fmla="*/ 457200 h 914400"/>
              <a:gd name="connsiteX3" fmla="*/ 1788587 w 1828800"/>
              <a:gd name="connsiteY3" fmla="*/ 914400 h 914400"/>
              <a:gd name="connsiteX4" fmla="*/ 0 w 1828800"/>
              <a:gd name="connsiteY4" fmla="*/ 914400 h 914400"/>
              <a:gd name="connsiteX5" fmla="*/ 174766 w 1828800"/>
              <a:gd name="connsiteY5" fmla="*/ 457201 h 914400"/>
              <a:gd name="connsiteX0" fmla="*/ 0 w 1828800"/>
              <a:gd name="connsiteY0" fmla="*/ 0 h 914400"/>
              <a:gd name="connsiteX1" fmla="*/ 1654033 w 1828800"/>
              <a:gd name="connsiteY1" fmla="*/ 0 h 914400"/>
              <a:gd name="connsiteX2" fmla="*/ 1828800 w 1828800"/>
              <a:gd name="connsiteY2" fmla="*/ 457200 h 914400"/>
              <a:gd name="connsiteX3" fmla="*/ 1788587 w 1828800"/>
              <a:gd name="connsiteY3" fmla="*/ 914400 h 914400"/>
              <a:gd name="connsiteX4" fmla="*/ 0 w 1828800"/>
              <a:gd name="connsiteY4" fmla="*/ 914400 h 914400"/>
              <a:gd name="connsiteX5" fmla="*/ 174766 w 1828800"/>
              <a:gd name="connsiteY5" fmla="*/ 457201 h 914400"/>
              <a:gd name="connsiteX0" fmla="*/ 0 w 1828800"/>
              <a:gd name="connsiteY0" fmla="*/ 0 h 914400"/>
              <a:gd name="connsiteX1" fmla="*/ 1654033 w 1828800"/>
              <a:gd name="connsiteY1" fmla="*/ 0 h 914400"/>
              <a:gd name="connsiteX2" fmla="*/ 1828800 w 1828800"/>
              <a:gd name="connsiteY2" fmla="*/ 457200 h 914400"/>
              <a:gd name="connsiteX3" fmla="*/ 1654033 w 1828800"/>
              <a:gd name="connsiteY3" fmla="*/ 914400 h 914400"/>
              <a:gd name="connsiteX4" fmla="*/ 0 w 1828800"/>
              <a:gd name="connsiteY4" fmla="*/ 914400 h 914400"/>
              <a:gd name="connsiteX5" fmla="*/ 174766 w 1828800"/>
              <a:gd name="connsiteY5" fmla="*/ 457201 h 914400"/>
              <a:gd name="connsiteX0" fmla="*/ 0 w 1828800"/>
              <a:gd name="connsiteY0" fmla="*/ 0 h 914400"/>
              <a:gd name="connsiteX1" fmla="*/ 1654033 w 1828800"/>
              <a:gd name="connsiteY1" fmla="*/ 0 h 914400"/>
              <a:gd name="connsiteX2" fmla="*/ 1828800 w 1828800"/>
              <a:gd name="connsiteY2" fmla="*/ 457200 h 914400"/>
              <a:gd name="connsiteX3" fmla="*/ 1654033 w 1828800"/>
              <a:gd name="connsiteY3" fmla="*/ 914400 h 914400"/>
              <a:gd name="connsiteX4" fmla="*/ 0 w 1828800"/>
              <a:gd name="connsiteY4" fmla="*/ 914400 h 914400"/>
              <a:gd name="connsiteX5" fmla="*/ 157761 w 1828800"/>
              <a:gd name="connsiteY5" fmla="*/ 457201 h 914400"/>
              <a:gd name="connsiteX0" fmla="*/ 0 w 1828800"/>
              <a:gd name="connsiteY0" fmla="*/ 0 h 914400"/>
              <a:gd name="connsiteX1" fmla="*/ 1671038 w 1828800"/>
              <a:gd name="connsiteY1" fmla="*/ 0 h 914400"/>
              <a:gd name="connsiteX2" fmla="*/ 1828800 w 1828800"/>
              <a:gd name="connsiteY2" fmla="*/ 457200 h 914400"/>
              <a:gd name="connsiteX3" fmla="*/ 1654033 w 1828800"/>
              <a:gd name="connsiteY3" fmla="*/ 914400 h 914400"/>
              <a:gd name="connsiteX4" fmla="*/ 0 w 1828800"/>
              <a:gd name="connsiteY4" fmla="*/ 914400 h 914400"/>
              <a:gd name="connsiteX5" fmla="*/ 157761 w 1828800"/>
              <a:gd name="connsiteY5" fmla="*/ 457201 h 914400"/>
              <a:gd name="connsiteX0" fmla="*/ 0 w 1828800"/>
              <a:gd name="connsiteY0" fmla="*/ 0 h 914400"/>
              <a:gd name="connsiteX1" fmla="*/ 1671038 w 1828800"/>
              <a:gd name="connsiteY1" fmla="*/ 0 h 914400"/>
              <a:gd name="connsiteX2" fmla="*/ 1828800 w 1828800"/>
              <a:gd name="connsiteY2" fmla="*/ 457200 h 914400"/>
              <a:gd name="connsiteX3" fmla="*/ 1671038 w 1828800"/>
              <a:gd name="connsiteY3" fmla="*/ 914400 h 914400"/>
              <a:gd name="connsiteX4" fmla="*/ 0 w 1828800"/>
              <a:gd name="connsiteY4" fmla="*/ 914400 h 914400"/>
              <a:gd name="connsiteX5" fmla="*/ 157761 w 1828800"/>
              <a:gd name="connsiteY5" fmla="*/ 457201 h 914400"/>
              <a:gd name="connsiteX0" fmla="*/ 0 w 1828800"/>
              <a:gd name="connsiteY0" fmla="*/ 0 h 914400"/>
              <a:gd name="connsiteX1" fmla="*/ 1671038 w 1828800"/>
              <a:gd name="connsiteY1" fmla="*/ 0 h 914400"/>
              <a:gd name="connsiteX2" fmla="*/ 1828800 w 1828800"/>
              <a:gd name="connsiteY2" fmla="*/ 457200 h 914400"/>
              <a:gd name="connsiteX3" fmla="*/ 1671038 w 1828800"/>
              <a:gd name="connsiteY3" fmla="*/ 914400 h 914400"/>
              <a:gd name="connsiteX4" fmla="*/ 0 w 1828800"/>
              <a:gd name="connsiteY4" fmla="*/ 914400 h 914400"/>
              <a:gd name="connsiteX5" fmla="*/ 215317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71038 w 1828800"/>
              <a:gd name="connsiteY3" fmla="*/ 914400 h 914400"/>
              <a:gd name="connsiteX4" fmla="*/ 0 w 1828800"/>
              <a:gd name="connsiteY4" fmla="*/ 914400 h 914400"/>
              <a:gd name="connsiteX5" fmla="*/ 215317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15317 w 1828800"/>
              <a:gd name="connsiteY5" fmla="*/ 457201 h 914400"/>
              <a:gd name="connsiteX0" fmla="*/ 0 w 1828800"/>
              <a:gd name="connsiteY0" fmla="*/ 0 h 914400"/>
              <a:gd name="connsiteX1" fmla="*/ 1613481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613481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  <a:gd name="connsiteX0" fmla="*/ 0 w 1828800"/>
              <a:gd name="connsiteY0" fmla="*/ 0 h 914400"/>
              <a:gd name="connsiteX1" fmla="*/ 1591626 w 1828800"/>
              <a:gd name="connsiteY1" fmla="*/ 0 h 914400"/>
              <a:gd name="connsiteX2" fmla="*/ 1828800 w 1828800"/>
              <a:gd name="connsiteY2" fmla="*/ 457200 h 914400"/>
              <a:gd name="connsiteX3" fmla="*/ 1591626 w 1828800"/>
              <a:gd name="connsiteY3" fmla="*/ 914400 h 914400"/>
              <a:gd name="connsiteX4" fmla="*/ 0 w 1828800"/>
              <a:gd name="connsiteY4" fmla="*/ 914400 h 914400"/>
              <a:gd name="connsiteX5" fmla="*/ 237174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91626" y="0"/>
                </a:lnTo>
                <a:lnTo>
                  <a:pt x="1828800" y="457200"/>
                </a:lnTo>
                <a:lnTo>
                  <a:pt x="1591626" y="914400"/>
                </a:lnTo>
                <a:lnTo>
                  <a:pt x="0" y="914400"/>
                </a:lnTo>
                <a:lnTo>
                  <a:pt x="237174" y="45720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rtlCol="0" anchor="ctr"/>
          <a:lstStyle/>
          <a:p>
            <a:pPr algn="ctr"/>
            <a:endParaRPr lang="en-US" sz="1300" b="1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sp>
        <p:nvSpPr>
          <p:cNvPr id="42" name="TextBox 60">
            <a:extLst>
              <a:ext uri="{FF2B5EF4-FFF2-40B4-BE49-F238E27FC236}">
                <a16:creationId xmlns:a16="http://schemas.microsoft.com/office/drawing/2014/main" id="{6A793FAC-31BC-2C05-D1D0-598F7B6A60A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728688" y="1956838"/>
            <a:ext cx="879127" cy="750648"/>
          </a:xfrm>
          <a:prstGeom prst="rect">
            <a:avLst/>
          </a:prstGeom>
          <a:noFill/>
          <a:ln>
            <a:noFill/>
          </a:ln>
        </p:spPr>
        <p:txBody>
          <a:bodyPr vert="horz" lIns="27432" tIns="45720" rIns="91440" bIns="4572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Clr>
                <a:srgbClr val="FFFFFF"/>
              </a:buClr>
              <a:buNone/>
            </a:pPr>
            <a:r>
              <a:rPr lang="en-US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Device</a:t>
            </a:r>
          </a:p>
        </p:txBody>
      </p:sp>
      <p:sp>
        <p:nvSpPr>
          <p:cNvPr id="40" name="TextBox 40">
            <a:extLst>
              <a:ext uri="{FF2B5EF4-FFF2-40B4-BE49-F238E27FC236}">
                <a16:creationId xmlns:a16="http://schemas.microsoft.com/office/drawing/2014/main" id="{35693390-2B33-77F8-B5ED-4B5C7587E47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63815" y="1956838"/>
            <a:ext cx="1026807" cy="750648"/>
          </a:xfrm>
          <a:prstGeom prst="rect">
            <a:avLst/>
          </a:prstGeom>
          <a:noFill/>
          <a:ln>
            <a:noFill/>
          </a:ln>
        </p:spPr>
        <p:txBody>
          <a:bodyPr vert="horz" lIns="27432" tIns="45720" rIns="91440" bIns="45720" rtlCol="0" anchor="ctr">
            <a:no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buClr>
                <a:srgbClr val="FFFFFF"/>
              </a:buClr>
              <a:buNone/>
            </a:pPr>
            <a:r>
              <a:rPr lang="en-US" sz="1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lasma Polish</a:t>
            </a:r>
          </a:p>
        </p:txBody>
      </p:sp>
      <p:pic>
        <p:nvPicPr>
          <p:cNvPr id="49" name="Picture 7">
            <a:extLst>
              <a:ext uri="{FF2B5EF4-FFF2-40B4-BE49-F238E27FC236}">
                <a16:creationId xmlns:a16="http://schemas.microsoft.com/office/drawing/2014/main" id="{D98A2C65-735E-E23F-DFDB-BB78DEF200F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7583" y="2828560"/>
            <a:ext cx="3133486" cy="2903610"/>
          </a:xfrm>
          <a:prstGeom prst="rect">
            <a:avLst/>
          </a:prstGeom>
          <a:ln w="3175">
            <a:noFill/>
          </a:ln>
        </p:spPr>
      </p:pic>
      <p:sp>
        <p:nvSpPr>
          <p:cNvPr id="50" name="TextBox 91">
            <a:extLst>
              <a:ext uri="{FF2B5EF4-FFF2-40B4-BE49-F238E27FC236}">
                <a16:creationId xmlns:a16="http://schemas.microsoft.com/office/drawing/2014/main" id="{66A773D4-8FE5-3207-5E42-9363A1B6D3D9}"/>
              </a:ext>
            </a:extLst>
          </p:cNvPr>
          <p:cNvSpPr txBox="1">
            <a:spLocks/>
          </p:cNvSpPr>
          <p:nvPr/>
        </p:nvSpPr>
        <p:spPr>
          <a:xfrm>
            <a:off x="6196815" y="5829776"/>
            <a:ext cx="5244479" cy="2492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271463" lvl="0" indent="-271463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rgbClr val="F7954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buNone/>
            </a:pPr>
            <a:r>
              <a:rPr lang="en-US" sz="1800" dirty="0" err="1">
                <a:latin typeface="Century Gothic" panose="020B0502020202020204" pitchFamily="34" charset="0"/>
                <a:cs typeface="Arial"/>
              </a:rPr>
              <a:t>PlasmaPro</a:t>
            </a:r>
            <a:r>
              <a:rPr lang="en-US" sz="1800" dirty="0">
                <a:latin typeface="Century Gothic" panose="020B0502020202020204" pitchFamily="34" charset="0"/>
                <a:cs typeface="Arial"/>
              </a:rPr>
              <a:t> 100 Cobra single wafer etch system </a:t>
            </a:r>
            <a:endParaRPr lang="en-US" sz="18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39577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589AC2F-A217-BFBA-C2B3-F844CB2D26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0129" y="1611539"/>
            <a:ext cx="2224503" cy="516803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0A3508-02C0-405F-88F8-FE120BD7E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774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9" imgH="330" progId="TCLayout.ActiveDocument.1">
                  <p:embed/>
                </p:oleObj>
              </mc:Choice>
              <mc:Fallback>
                <p:oleObj name="think-cell Folie" r:id="rId4" imgW="329" imgH="3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0A3508-02C0-405F-88F8-FE120BD7E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D4AE222D-02D7-4087-B3AB-DC5188326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400" y="127001"/>
            <a:ext cx="9579599" cy="753532"/>
          </a:xfrm>
        </p:spPr>
        <p:txBody>
          <a:bodyPr vert="horz"/>
          <a:lstStyle/>
          <a:p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151F6D"/>
                </a:solidFill>
                <a:effectLst/>
                <a:uLnTx/>
                <a:uFillTx/>
              </a:rPr>
              <a:t>How the process works: Surface-level concept</a:t>
            </a:r>
            <a:b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151F6D"/>
                </a:solidFill>
                <a:effectLst/>
                <a:uLnTx/>
                <a:uFillTx/>
              </a:rPr>
            </a:b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151F6D"/>
                </a:solidFill>
                <a:effectLst/>
                <a:uLnTx/>
                <a:uFillTx/>
              </a:rPr>
              <a:t>Plasma Polish is an etch process directly targeting subsurface damage</a:t>
            </a:r>
            <a:endParaRPr lang="en-US" i="1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45129402-D085-CD72-48BE-04C2454EBE3F}"/>
              </a:ext>
            </a:extLst>
          </p:cNvPr>
          <p:cNvSpPr txBox="1">
            <a:spLocks/>
          </p:cNvSpPr>
          <p:nvPr/>
        </p:nvSpPr>
        <p:spPr>
          <a:xfrm>
            <a:off x="10199802" y="6450356"/>
            <a:ext cx="1661570" cy="365125"/>
          </a:xfrm>
          <a:prstGeom prst="rect">
            <a:avLst/>
          </a:prstGeom>
        </p:spPr>
        <p:txBody>
          <a:bodyPr anchor="ctr"/>
          <a:lstStyle>
            <a:lvl1pPr marL="271463" indent="-2714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rgbClr val="F7954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1C267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79548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4C3C035-59AE-4894-81E6-EDBAA7ED4E6D}" type="slidenum">
              <a:rPr lang="en-GB" sz="1200" smtClean="0">
                <a:solidFill>
                  <a:schemeClr val="accent2"/>
                </a:solidFill>
              </a:rPr>
              <a:pPr algn="r"/>
              <a:t>8</a:t>
            </a:fld>
            <a:endParaRPr lang="en-GB" sz="1200" dirty="0">
              <a:solidFill>
                <a:schemeClr val="accent2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452F08-C95A-AAF2-EC82-83D174EA4396}"/>
              </a:ext>
            </a:extLst>
          </p:cNvPr>
          <p:cNvSpPr/>
          <p:nvPr/>
        </p:nvSpPr>
        <p:spPr>
          <a:xfrm>
            <a:off x="346721" y="1280160"/>
            <a:ext cx="2892861" cy="489652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23071AA-54AB-7A2A-0519-17768D2D5566}"/>
              </a:ext>
            </a:extLst>
          </p:cNvPr>
          <p:cNvSpPr/>
          <p:nvPr/>
        </p:nvSpPr>
        <p:spPr>
          <a:xfrm>
            <a:off x="8300720" y="1290320"/>
            <a:ext cx="3560652" cy="22352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1AAE902-4EA0-1B10-8AA4-7647436384A0}"/>
              </a:ext>
            </a:extLst>
          </p:cNvPr>
          <p:cNvSpPr/>
          <p:nvPr/>
        </p:nvSpPr>
        <p:spPr>
          <a:xfrm>
            <a:off x="4402034" y="3901440"/>
            <a:ext cx="3560652" cy="2235200"/>
          </a:xfrm>
          <a:prstGeom prst="rect">
            <a:avLst/>
          </a:prstGeom>
          <a:solidFill>
            <a:srgbClr val="FBFBFB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EA9CFFF-F1C1-7A2A-878E-8CE26D6DACA6}"/>
              </a:ext>
            </a:extLst>
          </p:cNvPr>
          <p:cNvSpPr/>
          <p:nvPr/>
        </p:nvSpPr>
        <p:spPr>
          <a:xfrm>
            <a:off x="4402034" y="1290320"/>
            <a:ext cx="3560652" cy="2235200"/>
          </a:xfrm>
          <a:prstGeom prst="rect">
            <a:avLst/>
          </a:prstGeom>
          <a:solidFill>
            <a:srgbClr val="FBFBFB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23" name="Pfeil: nach rechts 22">
            <a:extLst>
              <a:ext uri="{FF2B5EF4-FFF2-40B4-BE49-F238E27FC236}">
                <a16:creationId xmlns:a16="http://schemas.microsoft.com/office/drawing/2014/main" id="{8B569C51-5F33-AB6F-7910-E2CF2752FF58}"/>
              </a:ext>
            </a:extLst>
          </p:cNvPr>
          <p:cNvSpPr/>
          <p:nvPr/>
        </p:nvSpPr>
        <p:spPr>
          <a:xfrm>
            <a:off x="3239582" y="1712679"/>
            <a:ext cx="1162452" cy="3657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24" name="Pfeil: nach rechts 23">
            <a:extLst>
              <a:ext uri="{FF2B5EF4-FFF2-40B4-BE49-F238E27FC236}">
                <a16:creationId xmlns:a16="http://schemas.microsoft.com/office/drawing/2014/main" id="{19E2709A-AC30-3D29-B05E-E74503764E7C}"/>
              </a:ext>
            </a:extLst>
          </p:cNvPr>
          <p:cNvSpPr/>
          <p:nvPr/>
        </p:nvSpPr>
        <p:spPr>
          <a:xfrm>
            <a:off x="3239582" y="4347506"/>
            <a:ext cx="1162452" cy="3657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C45945E1-1418-7091-65FA-60B39702D241}"/>
              </a:ext>
            </a:extLst>
          </p:cNvPr>
          <p:cNvSpPr/>
          <p:nvPr/>
        </p:nvSpPr>
        <p:spPr>
          <a:xfrm>
            <a:off x="7962686" y="1712679"/>
            <a:ext cx="338034" cy="3657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26" name="Pfeil: nach rechts 25">
            <a:extLst>
              <a:ext uri="{FF2B5EF4-FFF2-40B4-BE49-F238E27FC236}">
                <a16:creationId xmlns:a16="http://schemas.microsoft.com/office/drawing/2014/main" id="{5678A122-8828-D4BD-4EE8-6B56C0E55FC4}"/>
              </a:ext>
            </a:extLst>
          </p:cNvPr>
          <p:cNvSpPr/>
          <p:nvPr/>
        </p:nvSpPr>
        <p:spPr>
          <a:xfrm>
            <a:off x="7962686" y="4347506"/>
            <a:ext cx="338034" cy="3657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27" name="Picture 4">
            <a:extLst>
              <a:ext uri="{FF2B5EF4-FFF2-40B4-BE49-F238E27FC236}">
                <a16:creationId xmlns:a16="http://schemas.microsoft.com/office/drawing/2014/main" id="{942338EB-60C8-3544-B72E-A0AF8F5205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391" y="2651690"/>
            <a:ext cx="2068151" cy="460603"/>
          </a:xfrm>
          <a:prstGeom prst="rect">
            <a:avLst/>
          </a:prstGeom>
        </p:spPr>
      </p:pic>
      <p:sp>
        <p:nvSpPr>
          <p:cNvPr id="28" name="TextBox 24">
            <a:extLst>
              <a:ext uri="{FF2B5EF4-FFF2-40B4-BE49-F238E27FC236}">
                <a16:creationId xmlns:a16="http://schemas.microsoft.com/office/drawing/2014/main" id="{C95FA85E-B055-29DD-AF4E-B2877AEED3DC}"/>
              </a:ext>
            </a:extLst>
          </p:cNvPr>
          <p:cNvSpPr txBox="1"/>
          <p:nvPr/>
        </p:nvSpPr>
        <p:spPr>
          <a:xfrm>
            <a:off x="914594" y="2331399"/>
            <a:ext cx="166267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</a:rPr>
              <a:t>Fine Grinding</a:t>
            </a:r>
            <a:endParaRPr kumimoji="0" lang="de-DE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29" name="TextBox 54">
            <a:extLst>
              <a:ext uri="{FF2B5EF4-FFF2-40B4-BE49-F238E27FC236}">
                <a16:creationId xmlns:a16="http://schemas.microsoft.com/office/drawing/2014/main" id="{9035D451-B014-9460-5A7B-33BF80EC77FE}"/>
              </a:ext>
            </a:extLst>
          </p:cNvPr>
          <p:cNvSpPr txBox="1"/>
          <p:nvPr/>
        </p:nvSpPr>
        <p:spPr>
          <a:xfrm>
            <a:off x="384884" y="1345111"/>
            <a:ext cx="285469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 dirty="0">
                <a:latin typeface="Century Gothic" panose="020B0502020202020204" pitchFamily="34" charset="0"/>
              </a:rPr>
              <a:t>Subsurface Damage: </a:t>
            </a:r>
            <a:r>
              <a:rPr lang="en-GB" sz="1400" dirty="0">
                <a:latin typeface="Century Gothic" panose="020B0502020202020204" pitchFamily="34" charset="0"/>
              </a:rPr>
              <a:t>Dense Network of Narrow Scratches and defects induced by grinding. 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3F0B9D0D-BAA8-FC37-E2BD-5D16F9DF563A}"/>
              </a:ext>
            </a:extLst>
          </p:cNvPr>
          <p:cNvGrpSpPr/>
          <p:nvPr/>
        </p:nvGrpSpPr>
        <p:grpSpPr>
          <a:xfrm>
            <a:off x="725035" y="3213227"/>
            <a:ext cx="2030964" cy="2845448"/>
            <a:chOff x="299607" y="3649105"/>
            <a:chExt cx="1873826" cy="2625287"/>
          </a:xfrm>
        </p:grpSpPr>
        <p:pic>
          <p:nvPicPr>
            <p:cNvPr id="31" name="Picture 17" descr="A picture containing wooden, wood&#10;&#10;Description automatically generated">
              <a:extLst>
                <a:ext uri="{FF2B5EF4-FFF2-40B4-BE49-F238E27FC236}">
                  <a16:creationId xmlns:a16="http://schemas.microsoft.com/office/drawing/2014/main" id="{F606A625-4904-7E18-5131-34FAA730E6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0"/>
            <a:stretch/>
          </p:blipFill>
          <p:spPr>
            <a:xfrm>
              <a:off x="561407" y="3649105"/>
              <a:ext cx="1387408" cy="1262719"/>
            </a:xfrm>
            <a:prstGeom prst="rect">
              <a:avLst/>
            </a:prstGeom>
          </p:spPr>
        </p:pic>
        <p:pic>
          <p:nvPicPr>
            <p:cNvPr id="33" name="Picture 8">
              <a:extLst>
                <a:ext uri="{FF2B5EF4-FFF2-40B4-BE49-F238E27FC236}">
                  <a16:creationId xmlns:a16="http://schemas.microsoft.com/office/drawing/2014/main" id="{4E38934F-8C95-FEF6-E9A4-36003F54F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5169" y="4943183"/>
              <a:ext cx="1694021" cy="1064425"/>
            </a:xfrm>
            <a:prstGeom prst="rect">
              <a:avLst/>
            </a:prstGeom>
          </p:spPr>
        </p:pic>
        <p:cxnSp>
          <p:nvCxnSpPr>
            <p:cNvPr id="34" name="Straight Connector 10">
              <a:extLst>
                <a:ext uri="{FF2B5EF4-FFF2-40B4-BE49-F238E27FC236}">
                  <a16:creationId xmlns:a16="http://schemas.microsoft.com/office/drawing/2014/main" id="{4720246C-D5A2-3EF6-23C7-CDE198934E45}"/>
                </a:ext>
              </a:extLst>
            </p:cNvPr>
            <p:cNvCxnSpPr>
              <a:stCxn id="31" idx="1"/>
              <a:endCxn id="31" idx="3"/>
            </p:cNvCxnSpPr>
            <p:nvPr/>
          </p:nvCxnSpPr>
          <p:spPr>
            <a:xfrm>
              <a:off x="561407" y="4280465"/>
              <a:ext cx="138740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58">
              <a:extLst>
                <a:ext uri="{FF2B5EF4-FFF2-40B4-BE49-F238E27FC236}">
                  <a16:creationId xmlns:a16="http://schemas.microsoft.com/office/drawing/2014/main" id="{5057E0CC-A0CF-396B-0CCE-0F430FF51FB8}"/>
                </a:ext>
              </a:extLst>
            </p:cNvPr>
            <p:cNvSpPr txBox="1"/>
            <p:nvPr/>
          </p:nvSpPr>
          <p:spPr>
            <a:xfrm>
              <a:off x="325679" y="5980900"/>
              <a:ext cx="1847754" cy="2934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  <a:t>R</a:t>
              </a:r>
              <a:r>
                <a:rPr kumimoji="0" lang="en-US" sz="1400" b="1" i="0" u="none" strike="noStrike" kern="1200" cap="none" spc="0" normalizeH="0" baseline="-2500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  <a:t>a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  <a:t>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  <a:t>(nm) – 1.50</a:t>
              </a:r>
            </a:p>
          </p:txBody>
        </p:sp>
        <p:sp>
          <p:nvSpPr>
            <p:cNvPr id="37" name="TextBox 59">
              <a:extLst>
                <a:ext uri="{FF2B5EF4-FFF2-40B4-BE49-F238E27FC236}">
                  <a16:creationId xmlns:a16="http://schemas.microsoft.com/office/drawing/2014/main" id="{E18751EE-57AB-8074-E90E-87F862781197}"/>
                </a:ext>
              </a:extLst>
            </p:cNvPr>
            <p:cNvSpPr txBox="1"/>
            <p:nvPr/>
          </p:nvSpPr>
          <p:spPr>
            <a:xfrm rot="16200000">
              <a:off x="-57008" y="4118989"/>
              <a:ext cx="954600" cy="24136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10x10µm</a:t>
              </a:r>
              <a:r>
                <a:rPr kumimoji="0" lang="en-US" sz="1100" b="1" i="0" u="none" strike="noStrike" kern="1200" cap="none" spc="0" normalizeH="0" baseline="3000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2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 </a:t>
              </a:r>
              <a:endParaRPr lang="de-DE" sz="1100" b="1">
                <a:latin typeface="Century Gothic" panose="020B0502020202020204" pitchFamily="34" charset="0"/>
              </a:endParaRPr>
            </a:p>
          </p:txBody>
        </p:sp>
      </p:grpSp>
      <p:pic>
        <p:nvPicPr>
          <p:cNvPr id="38" name="Picture 7">
            <a:extLst>
              <a:ext uri="{FF2B5EF4-FFF2-40B4-BE49-F238E27FC236}">
                <a16:creationId xmlns:a16="http://schemas.microsoft.com/office/drawing/2014/main" id="{1EAF46A7-7AB3-8360-EE17-DB7D11C5B74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5742" y="2337575"/>
            <a:ext cx="947755" cy="875653"/>
          </a:xfrm>
          <a:prstGeom prst="rect">
            <a:avLst/>
          </a:prstGeom>
          <a:ln w="3175">
            <a:noFill/>
          </a:ln>
        </p:spPr>
      </p:pic>
      <p:pic>
        <p:nvPicPr>
          <p:cNvPr id="39" name="Picture 5">
            <a:extLst>
              <a:ext uri="{FF2B5EF4-FFF2-40B4-BE49-F238E27FC236}">
                <a16:creationId xmlns:a16="http://schemas.microsoft.com/office/drawing/2014/main" id="{950024B7-C1AF-EABF-DB15-BF9EDFB92A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04" t="80732" r="38909" b="222"/>
          <a:stretch/>
        </p:blipFill>
        <p:spPr bwMode="auto">
          <a:xfrm>
            <a:off x="3309646" y="4806234"/>
            <a:ext cx="1053196" cy="6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TextBox 25">
            <a:extLst>
              <a:ext uri="{FF2B5EF4-FFF2-40B4-BE49-F238E27FC236}">
                <a16:creationId xmlns:a16="http://schemas.microsoft.com/office/drawing/2014/main" id="{CAD02CBC-3DB5-F16A-9EAD-B507014EEB67}"/>
              </a:ext>
            </a:extLst>
          </p:cNvPr>
          <p:cNvSpPr txBox="1"/>
          <p:nvPr/>
        </p:nvSpPr>
        <p:spPr>
          <a:xfrm>
            <a:off x="5277193" y="1329254"/>
            <a:ext cx="180108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</a:rPr>
              <a:t>Plasma Polish</a:t>
            </a:r>
            <a:endParaRPr kumimoji="0" lang="de-DE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52" name="Picture 27">
            <a:extLst>
              <a:ext uri="{FF2B5EF4-FFF2-40B4-BE49-F238E27FC236}">
                <a16:creationId xmlns:a16="http://schemas.microsoft.com/office/drawing/2014/main" id="{60805999-1F39-0B99-4142-31585DD5BB2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46007" y="1646454"/>
            <a:ext cx="2210725" cy="503105"/>
          </a:xfrm>
          <a:prstGeom prst="rect">
            <a:avLst/>
          </a:prstGeom>
        </p:spPr>
      </p:pic>
      <p:pic>
        <p:nvPicPr>
          <p:cNvPr id="53" name="Picture 36">
            <a:extLst>
              <a:ext uri="{FF2B5EF4-FFF2-40B4-BE49-F238E27FC236}">
                <a16:creationId xmlns:a16="http://schemas.microsoft.com/office/drawing/2014/main" id="{88DEC82A-737C-95A7-CC94-9109465A502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64949" y="4277603"/>
            <a:ext cx="2200846" cy="484995"/>
          </a:xfrm>
          <a:prstGeom prst="rect">
            <a:avLst/>
          </a:prstGeom>
        </p:spPr>
      </p:pic>
      <p:sp>
        <p:nvSpPr>
          <p:cNvPr id="54" name="TextBox 41">
            <a:extLst>
              <a:ext uri="{FF2B5EF4-FFF2-40B4-BE49-F238E27FC236}">
                <a16:creationId xmlns:a16="http://schemas.microsoft.com/office/drawing/2014/main" id="{CF370C43-E154-B5B3-9CAB-F69A898CBF81}"/>
              </a:ext>
            </a:extLst>
          </p:cNvPr>
          <p:cNvSpPr txBox="1"/>
          <p:nvPr/>
        </p:nvSpPr>
        <p:spPr>
          <a:xfrm>
            <a:off x="5429336" y="3930357"/>
            <a:ext cx="153165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</a:rPr>
              <a:t>CMP</a:t>
            </a:r>
            <a:endParaRPr kumimoji="0" lang="de-DE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C00555A-8D71-1FE0-A021-B43367F17C5C}"/>
              </a:ext>
            </a:extLst>
          </p:cNvPr>
          <p:cNvSpPr txBox="1"/>
          <p:nvPr/>
        </p:nvSpPr>
        <p:spPr>
          <a:xfrm>
            <a:off x="4446123" y="2175518"/>
            <a:ext cx="346322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700" indent="-2667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latin typeface="Century Gothic" panose="020B0502020202020204" pitchFamily="34" charset="0"/>
              </a:rPr>
              <a:t>Preferential etching of damaged area. </a:t>
            </a:r>
          </a:p>
          <a:p>
            <a:pPr marL="266700" indent="-2667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latin typeface="Century Gothic" panose="020B0502020202020204" pitchFamily="34" charset="0"/>
              </a:rPr>
              <a:t>Effectively leaving behind good crystal structure and approx. 50%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</a:rPr>
              <a:t>R</a:t>
            </a:r>
            <a:r>
              <a:rPr kumimoji="0" lang="en-US" sz="1600" i="0" u="none" strike="noStrike" kern="1200" cap="none" spc="0" normalizeH="0" baseline="-2500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</a:rPr>
              <a:t>a </a:t>
            </a:r>
            <a:r>
              <a:rPr lang="en-GB" sz="1600" dirty="0">
                <a:latin typeface="Century Gothic" panose="020B0502020202020204" pitchFamily="34" charset="0"/>
              </a:rPr>
              <a:t> reduction. </a:t>
            </a:r>
          </a:p>
        </p:txBody>
      </p:sp>
      <p:sp>
        <p:nvSpPr>
          <p:cNvPr id="56" name="TextBox 54">
            <a:extLst>
              <a:ext uri="{FF2B5EF4-FFF2-40B4-BE49-F238E27FC236}">
                <a16:creationId xmlns:a16="http://schemas.microsoft.com/office/drawing/2014/main" id="{DADC749D-995B-3194-B479-8D041B05550A}"/>
              </a:ext>
            </a:extLst>
          </p:cNvPr>
          <p:cNvSpPr txBox="1"/>
          <p:nvPr/>
        </p:nvSpPr>
        <p:spPr>
          <a:xfrm>
            <a:off x="4446123" y="4800102"/>
            <a:ext cx="346322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700" indent="-2667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latin typeface="Century Gothic" panose="020B0502020202020204" pitchFamily="34" charset="0"/>
              </a:rPr>
              <a:t>Removing Top Surface Sequentially. </a:t>
            </a:r>
          </a:p>
          <a:p>
            <a:pPr marL="266700" indent="-2667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latin typeface="Century Gothic" panose="020B0502020202020204" pitchFamily="34" charset="0"/>
              </a:rPr>
              <a:t>Chemical and Mechanical actions to achieve high flat-ness. </a:t>
            </a:r>
          </a:p>
        </p:txBody>
      </p:sp>
      <p:pic>
        <p:nvPicPr>
          <p:cNvPr id="58" name="Picture 49">
            <a:extLst>
              <a:ext uri="{FF2B5EF4-FFF2-40B4-BE49-F238E27FC236}">
                <a16:creationId xmlns:a16="http://schemas.microsoft.com/office/drawing/2014/main" id="{A540BA68-D291-6E6E-C8A0-406B9EA6C1B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080275" y="4265664"/>
            <a:ext cx="2229189" cy="503958"/>
          </a:xfrm>
          <a:prstGeom prst="rect">
            <a:avLst/>
          </a:prstGeom>
        </p:spPr>
      </p:pic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00832E12-8FB5-605E-94B0-74A677E12B3B}"/>
              </a:ext>
            </a:extLst>
          </p:cNvPr>
          <p:cNvGrpSpPr/>
          <p:nvPr/>
        </p:nvGrpSpPr>
        <p:grpSpPr>
          <a:xfrm>
            <a:off x="8352598" y="2185108"/>
            <a:ext cx="2156556" cy="1223371"/>
            <a:chOff x="8746611" y="1791858"/>
            <a:chExt cx="3116576" cy="2513442"/>
          </a:xfrm>
        </p:grpSpPr>
        <p:pic>
          <p:nvPicPr>
            <p:cNvPr id="59" name="Picture 18" descr="A picture containing text, outdoor&#10;&#10;Description automatically generated">
              <a:extLst>
                <a:ext uri="{FF2B5EF4-FFF2-40B4-BE49-F238E27FC236}">
                  <a16:creationId xmlns:a16="http://schemas.microsoft.com/office/drawing/2014/main" id="{9A613C68-8B68-46EF-7ECD-71046E8751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-1"/>
            <a:stretch/>
          </p:blipFill>
          <p:spPr>
            <a:xfrm>
              <a:off x="9074742" y="1956028"/>
              <a:ext cx="1402758" cy="1276690"/>
            </a:xfrm>
            <a:prstGeom prst="rect">
              <a:avLst/>
            </a:prstGeom>
          </p:spPr>
        </p:pic>
        <p:pic>
          <p:nvPicPr>
            <p:cNvPr id="60" name="Picture 33">
              <a:extLst>
                <a:ext uri="{FF2B5EF4-FFF2-40B4-BE49-F238E27FC236}">
                  <a16:creationId xmlns:a16="http://schemas.microsoft.com/office/drawing/2014/main" id="{30D8F883-E366-95C3-5DC7-B27BCB0C30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887764" y="3260227"/>
              <a:ext cx="1663222" cy="1045073"/>
            </a:xfrm>
            <a:prstGeom prst="rect">
              <a:avLst/>
            </a:prstGeom>
          </p:spPr>
        </p:pic>
        <p:cxnSp>
          <p:nvCxnSpPr>
            <p:cNvPr id="61" name="Straight Connector 34">
              <a:extLst>
                <a:ext uri="{FF2B5EF4-FFF2-40B4-BE49-F238E27FC236}">
                  <a16:creationId xmlns:a16="http://schemas.microsoft.com/office/drawing/2014/main" id="{8FB31A0D-D5FC-AB50-7602-7B3F7A768A91}"/>
                </a:ext>
              </a:extLst>
            </p:cNvPr>
            <p:cNvCxnSpPr/>
            <p:nvPr/>
          </p:nvCxnSpPr>
          <p:spPr>
            <a:xfrm>
              <a:off x="9086282" y="2575490"/>
              <a:ext cx="138740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0">
              <a:extLst>
                <a:ext uri="{FF2B5EF4-FFF2-40B4-BE49-F238E27FC236}">
                  <a16:creationId xmlns:a16="http://schemas.microsoft.com/office/drawing/2014/main" id="{694FDEAC-DAC8-6D51-65DA-710C19D6FC06}"/>
                </a:ext>
              </a:extLst>
            </p:cNvPr>
            <p:cNvSpPr txBox="1"/>
            <p:nvPr/>
          </p:nvSpPr>
          <p:spPr>
            <a:xfrm rot="16200000">
              <a:off x="8067501" y="2470968"/>
              <a:ext cx="1736290" cy="37806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10x10µm</a:t>
              </a:r>
              <a:r>
                <a:rPr kumimoji="0" lang="en-US" sz="1100" b="1" i="0" u="none" strike="noStrike" kern="1200" cap="none" spc="0" normalizeH="0" baseline="3000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2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 </a:t>
              </a:r>
              <a:endParaRPr lang="de-DE" sz="1100" b="1" dirty="0">
                <a:latin typeface="Century Gothic" panose="020B0502020202020204" pitchFamily="34" charset="0"/>
              </a:endParaRPr>
            </a:p>
          </p:txBody>
        </p:sp>
        <p:sp>
          <p:nvSpPr>
            <p:cNvPr id="63" name="TextBox 58">
              <a:extLst>
                <a:ext uri="{FF2B5EF4-FFF2-40B4-BE49-F238E27FC236}">
                  <a16:creationId xmlns:a16="http://schemas.microsoft.com/office/drawing/2014/main" id="{3538EC5F-EEBC-F3A5-77D9-547F35345EC2}"/>
                </a:ext>
              </a:extLst>
            </p:cNvPr>
            <p:cNvSpPr txBox="1"/>
            <p:nvPr/>
          </p:nvSpPr>
          <p:spPr>
            <a:xfrm>
              <a:off x="10460429" y="2750459"/>
              <a:ext cx="1402758" cy="10749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  <a:t>R</a:t>
              </a:r>
              <a:r>
                <a:rPr kumimoji="0" lang="en-US" sz="1400" b="1" i="0" u="none" strike="noStrike" kern="1200" cap="none" spc="0" normalizeH="0" baseline="-2500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  <a:t>a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  <a:t>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  <a:t>(nm) –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  <a:t> 0.70</a:t>
              </a:r>
            </a:p>
          </p:txBody>
        </p:sp>
      </p:grpSp>
      <p:sp>
        <p:nvSpPr>
          <p:cNvPr id="65" name="TextBox 54">
            <a:extLst>
              <a:ext uri="{FF2B5EF4-FFF2-40B4-BE49-F238E27FC236}">
                <a16:creationId xmlns:a16="http://schemas.microsoft.com/office/drawing/2014/main" id="{335C40E0-81BC-0E04-811E-2E18A51E0415}"/>
              </a:ext>
            </a:extLst>
          </p:cNvPr>
          <p:cNvSpPr txBox="1"/>
          <p:nvPr/>
        </p:nvSpPr>
        <p:spPr>
          <a:xfrm>
            <a:off x="10560003" y="2136008"/>
            <a:ext cx="128527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latin typeface="Century Gothic" panose="020B0502020202020204" pitchFamily="34" charset="0"/>
              </a:rPr>
              <a:t>Subsurface damage free surface with some leftover waviness</a:t>
            </a:r>
          </a:p>
        </p:txBody>
      </p:sp>
      <p:sp>
        <p:nvSpPr>
          <p:cNvPr id="66" name="TextBox 54">
            <a:extLst>
              <a:ext uri="{FF2B5EF4-FFF2-40B4-BE49-F238E27FC236}">
                <a16:creationId xmlns:a16="http://schemas.microsoft.com/office/drawing/2014/main" id="{89DCB7D8-44F9-82B7-F194-8E33246E11D5}"/>
              </a:ext>
            </a:extLst>
          </p:cNvPr>
          <p:cNvSpPr txBox="1"/>
          <p:nvPr/>
        </p:nvSpPr>
        <p:spPr>
          <a:xfrm>
            <a:off x="8463257" y="4819227"/>
            <a:ext cx="346322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latin typeface="Century Gothic" panose="020B0502020202020204" pitchFamily="34" charset="0"/>
              </a:rPr>
              <a:t>Highly flat surface with a likely-hood of observing leftover subsurface damag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A8BAF64-5A27-72DE-D186-15EC666279C7}"/>
              </a:ext>
            </a:extLst>
          </p:cNvPr>
          <p:cNvSpPr/>
          <p:nvPr/>
        </p:nvSpPr>
        <p:spPr>
          <a:xfrm>
            <a:off x="8300720" y="3901440"/>
            <a:ext cx="3560652" cy="22352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594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1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awxcSWcgOF.H05xkn_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3ZilBOu7xzFKPXMy7Uo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nOnw5NTCTrboLrkhRp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HklZCiw6Qnr6YnTLk_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xternal Use">
  <a:themeElements>
    <a:clrScheme name="Oxford Primary Palette">
      <a:dk1>
        <a:srgbClr val="000000"/>
      </a:dk1>
      <a:lt1>
        <a:srgbClr val="FFFFFF"/>
      </a:lt1>
      <a:dk2>
        <a:srgbClr val="000000"/>
      </a:dk2>
      <a:lt2>
        <a:srgbClr val="4C4C4C"/>
      </a:lt2>
      <a:accent1>
        <a:srgbClr val="EA7600"/>
      </a:accent1>
      <a:accent2>
        <a:srgbClr val="151F6D"/>
      </a:accent2>
      <a:accent3>
        <a:srgbClr val="CCCCCC"/>
      </a:accent3>
      <a:accent4>
        <a:srgbClr val="FBC9A3"/>
      </a:accent4>
      <a:accent5>
        <a:srgbClr val="CCCCCC"/>
      </a:accent5>
      <a:accent6>
        <a:srgbClr val="A1A5C5"/>
      </a:accent6>
      <a:hlink>
        <a:srgbClr val="EA7600"/>
      </a:hlink>
      <a:folHlink>
        <a:srgbClr val="EA7600"/>
      </a:folHlink>
    </a:clrScheme>
    <a:fontScheme name="Oxford Raleway">
      <a:majorFont>
        <a:latin typeface="Oxford Raleway"/>
        <a:ea typeface=""/>
        <a:cs typeface=""/>
      </a:majorFont>
      <a:minorFont>
        <a:latin typeface="Oxford 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5FA4EE5-22D7-4C96-885C-9DA6EB668A40}" vid="{3B2C5C74-0063-4294-A7F6-5B049A9374FF}"/>
    </a:ext>
  </a:extLst>
</a:theme>
</file>

<file path=ppt/theme/theme2.xml><?xml version="1.0" encoding="utf-8"?>
<a:theme xmlns:a="http://schemas.openxmlformats.org/drawingml/2006/main" name="1_Internal Use - Private &amp; Confidential">
  <a:themeElements>
    <a:clrScheme name="Oxford Primary Palette">
      <a:dk1>
        <a:srgbClr val="000000"/>
      </a:dk1>
      <a:lt1>
        <a:srgbClr val="FFFFFF"/>
      </a:lt1>
      <a:dk2>
        <a:srgbClr val="000000"/>
      </a:dk2>
      <a:lt2>
        <a:srgbClr val="4C4C4C"/>
      </a:lt2>
      <a:accent1>
        <a:srgbClr val="EA7600"/>
      </a:accent1>
      <a:accent2>
        <a:srgbClr val="151F6D"/>
      </a:accent2>
      <a:accent3>
        <a:srgbClr val="CCCCCC"/>
      </a:accent3>
      <a:accent4>
        <a:srgbClr val="FBC9A3"/>
      </a:accent4>
      <a:accent5>
        <a:srgbClr val="CCCCCC"/>
      </a:accent5>
      <a:accent6>
        <a:srgbClr val="A1A5C5"/>
      </a:accent6>
      <a:hlink>
        <a:srgbClr val="EA7600"/>
      </a:hlink>
      <a:folHlink>
        <a:srgbClr val="EA7600"/>
      </a:folHlink>
    </a:clrScheme>
    <a:fontScheme name="Oxford Raleway Black">
      <a:majorFont>
        <a:latin typeface="Oxford Raleway Project Black"/>
        <a:ea typeface=""/>
        <a:cs typeface=""/>
      </a:majorFont>
      <a:minorFont>
        <a:latin typeface="Oxford Raleway Projec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5FA4EE5-22D7-4C96-885C-9DA6EB668A40}" vid="{89154344-FF96-47A7-896F-D1C1DEA5F71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59d6cb7-a135-484f-bf8e-7094c1e2ea16" xsi:nil="true"/>
    <lcf76f155ced4ddcb4097134ff3c332f xmlns="2049871b-bdea-4bf9-8726-35e684014a3a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6D1E419A536142AA8666A6FC962AD0" ma:contentTypeVersion="16" ma:contentTypeDescription="Create a new document." ma:contentTypeScope="" ma:versionID="c2b91592b303e1585d35158e77e07267">
  <xsd:schema xmlns:xsd="http://www.w3.org/2001/XMLSchema" xmlns:xs="http://www.w3.org/2001/XMLSchema" xmlns:p="http://schemas.microsoft.com/office/2006/metadata/properties" xmlns:ns2="2049871b-bdea-4bf9-8726-35e684014a3a" xmlns:ns3="159d6cb7-a135-484f-bf8e-7094c1e2ea16" targetNamespace="http://schemas.microsoft.com/office/2006/metadata/properties" ma:root="true" ma:fieldsID="95362466b07d27e78fe208016ba829a2" ns2:_="" ns3:_="">
    <xsd:import namespace="2049871b-bdea-4bf9-8726-35e684014a3a"/>
    <xsd:import namespace="159d6cb7-a135-484f-bf8e-7094c1e2ea1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49871b-bdea-4bf9-8726-35e684014a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9cb1f927-5e14-4477-8fa9-1c6c34c5a3a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9d6cb7-a135-484f-bf8e-7094c1e2ea1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db6cbf-cd0a-4567-b67e-bd9873759a84}" ma:internalName="TaxCatchAll" ma:showField="CatchAllData" ma:web="159d6cb7-a135-484f-bf8e-7094c1e2ea1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F4AA5D4-11A4-4C60-BBDC-01A9424BABC2}">
  <ds:schemaRefs>
    <ds:schemaRef ds:uri="http://schemas.microsoft.com/office/infopath/2007/PartnerControls"/>
    <ds:schemaRef ds:uri="http://purl.org/dc/terms/"/>
    <ds:schemaRef ds:uri="cd2fbd21-a336-4d1e-b9a8-47e84c51beac"/>
    <ds:schemaRef ds:uri="http://schemas.microsoft.com/office/2006/metadata/properties"/>
    <ds:schemaRef ds:uri="http://www.w3.org/XML/1998/namespace"/>
    <ds:schemaRef ds:uri="http://purl.org/dc/dcmitype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41137013-8446-4549-9478-e1d5eee6f513"/>
  </ds:schemaRefs>
</ds:datastoreItem>
</file>

<file path=customXml/itemProps2.xml><?xml version="1.0" encoding="utf-8"?>
<ds:datastoreItem xmlns:ds="http://schemas.openxmlformats.org/officeDocument/2006/customXml" ds:itemID="{7744D16C-F70B-4215-94BC-C33F8D17F66B}"/>
</file>

<file path=customXml/itemProps3.xml><?xml version="1.0" encoding="utf-8"?>
<ds:datastoreItem xmlns:ds="http://schemas.openxmlformats.org/officeDocument/2006/customXml" ds:itemID="{AF692B48-D288-4FB7-90C2-980725DCBF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xford Instruments 2020</Template>
  <TotalTime>0</TotalTime>
  <Words>1339</Words>
  <Application>Microsoft Office PowerPoint</Application>
  <PresentationFormat>Widescreen</PresentationFormat>
  <Paragraphs>218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entury Gothic</vt:lpstr>
      <vt:lpstr>Oxford Raleway</vt:lpstr>
      <vt:lpstr>Raleway</vt:lpstr>
      <vt:lpstr>External Use</vt:lpstr>
      <vt:lpstr>1_Internal Use - Private &amp; Confidential</vt:lpstr>
      <vt:lpstr>think-cell Folie</vt:lpstr>
      <vt:lpstr>Bitmap Image</vt:lpstr>
      <vt:lpstr>Plasma Polish</vt:lpstr>
      <vt:lpstr>Outline</vt:lpstr>
      <vt:lpstr>Company Overview</vt:lpstr>
      <vt:lpstr>Oxford Instruments Plasma Technology</vt:lpstr>
      <vt:lpstr>Active in all Compound Semiconductors Markets</vt:lpstr>
      <vt:lpstr>Plasma Polish –  A Game Changer</vt:lpstr>
      <vt:lpstr>Why Polish ? Need Damage free crystal for Front End Manufacturing </vt:lpstr>
      <vt:lpstr>Plasma Polish</vt:lpstr>
      <vt:lpstr>How the process works: Surface-level concept Plasma Polish is an etch process directly targeting subsurface damage</vt:lpstr>
      <vt:lpstr>Process Validation: Epi-Growth</vt:lpstr>
      <vt:lpstr>Device Validation – MPD &amp; MOSFETs</vt:lpstr>
      <vt:lpstr>Device Validation – Merged pin Diodes Yields</vt:lpstr>
      <vt:lpstr>Device Validation – MOSFETs Yields</vt:lpstr>
      <vt:lpstr>Plasma Polish –  Value Proposition</vt:lpstr>
      <vt:lpstr>Benefits of the Plasma Polish process </vt:lpstr>
      <vt:lpstr>Program Update and Conclusions</vt:lpstr>
      <vt:lpstr>Program Update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LE SAGE Melanie</dc:creator>
  <cp:lastModifiedBy>SINGH Amandev</cp:lastModifiedBy>
  <cp:revision>274</cp:revision>
  <dcterms:created xsi:type="dcterms:W3CDTF">2020-05-04T14:30:07Z</dcterms:created>
  <dcterms:modified xsi:type="dcterms:W3CDTF">2023-04-12T14:3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5C7EE5C61B2A4B908F7C408BE4515B</vt:lpwstr>
  </property>
</Properties>
</file>